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8"/>
  </p:notesMasterIdLst>
  <p:sldIdLst>
    <p:sldId id="426" r:id="rId5"/>
    <p:sldId id="422" r:id="rId6"/>
    <p:sldId id="428" r:id="rId7"/>
    <p:sldId id="435" r:id="rId8"/>
    <p:sldId id="442" r:id="rId9"/>
    <p:sldId id="444" r:id="rId10"/>
    <p:sldId id="439" r:id="rId11"/>
    <p:sldId id="445" r:id="rId12"/>
    <p:sldId id="446" r:id="rId13"/>
    <p:sldId id="436" r:id="rId14"/>
    <p:sldId id="447" r:id="rId15"/>
    <p:sldId id="430" r:id="rId16"/>
    <p:sldId id="432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7972"/>
    <a:srgbClr val="00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51" autoAdjust="0"/>
    <p:restoredTop sz="86384" autoAdjust="0"/>
  </p:normalViewPr>
  <p:slideViewPr>
    <p:cSldViewPr snapToGrid="0">
      <p:cViewPr>
        <p:scale>
          <a:sx n="73" d="100"/>
          <a:sy n="73" d="100"/>
        </p:scale>
        <p:origin x="904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81B601-08AE-43C2-96E5-FB82A6F931D5}" type="datetimeFigureOut">
              <a:rPr lang="en-US" smtClean="0"/>
              <a:t>7/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A9B63A-5B7A-43C8-BE2E-8194E8ABD1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950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ngs to say: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It is also available as a standalone application. </a:t>
            </a:r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24F420-6C54-445C-91D5-D3FD1A0F72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729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ngs to say: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– complex table conversion from Word to PDF is not always accurate and may not be read aloud by the screen reader the way you intended.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</a:rPr>
              <a:t>For more complex documents, consider using Adobe InDesign as the accessibility conversion is more accurat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A9B63A-5B7A-43C8-BE2E-8194E8ABD1B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25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ngs to say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kern="100" dirty="0">
              <a:latin typeface="Calibri" panose="020F0502020204030204" pitchFamily="34" charset="0"/>
              <a:ea typeface="Yu Mincho" panose="02020400000000000000" pitchFamily="18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kern="100" dirty="0"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Using colour to convey information can exclude some people. Such as those a visual impairment or colour blindness </a:t>
            </a:r>
          </a:p>
          <a:p>
            <a:endParaRPr lang="en-GB" dirty="0"/>
          </a:p>
          <a:p>
            <a:endParaRPr lang="en-GB" dirty="0"/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GB" kern="100" dirty="0"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Always ask yourself: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kern="100" dirty="0"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‘Do the colours I’m using have enough contrast?’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24F420-6C54-445C-91D5-D3FD1A0F72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625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ngs to say:</a:t>
            </a:r>
          </a:p>
          <a:p>
            <a:endParaRPr lang="en-GB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ea typeface="Calibri" panose="020F0502020204030204" pitchFamily="34" charset="0"/>
              </a:rPr>
              <a:t>Tables do not always convert well Word to PDF, especially there may be problems auto-tagging the table.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oint 2 - </a:t>
            </a:r>
            <a:r>
              <a:rPr lang="en-GB" dirty="0">
                <a:ea typeface="Calibri" panose="020F0502020204030204" pitchFamily="34" charset="0"/>
              </a:rPr>
              <a:t>These can produce a better result that is more compatible with screen reader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A9B63A-5B7A-43C8-BE2E-8194E8ABD1B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1500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owerPoint has a checker to help you with this. It is a quick and simple way of making sure that there are no major accessibility challenges in your deck. Using it is simple and can be found on the review tab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24F420-6C54-445C-91D5-D3FD1A0F721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5814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4E046F-47A0-475E-B0B7-567610AD5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A935F8-6F02-46CF-898B-F9D6B7DB9D8E}" type="slidenum">
              <a:rPr lang="en-GB" smtClean="0"/>
              <a:t>‹#›</a:t>
            </a:fld>
            <a:endParaRPr lang="en-GB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8F04D76-F6B7-F043-9080-C64AD2C7E5E9}"/>
              </a:ext>
            </a:extLst>
          </p:cNvPr>
          <p:cNvSpPr/>
          <p:nvPr userDrawn="1"/>
        </p:nvSpPr>
        <p:spPr>
          <a:xfrm>
            <a:off x="8294298" y="3548885"/>
            <a:ext cx="931331" cy="931329"/>
          </a:xfrm>
          <a:prstGeom prst="ellipse">
            <a:avLst/>
          </a:prstGeom>
          <a:gradFill flip="none" rotWithShape="1">
            <a:gsLst>
              <a:gs pos="0">
                <a:schemeClr val="accent4">
                  <a:alpha val="8000"/>
                </a:schemeClr>
              </a:gs>
              <a:gs pos="54000">
                <a:schemeClr val="accent4">
                  <a:alpha val="85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Rectangle: Rounded Corners 27">
            <a:extLst>
              <a:ext uri="{FF2B5EF4-FFF2-40B4-BE49-F238E27FC236}">
                <a16:creationId xmlns:a16="http://schemas.microsoft.com/office/drawing/2014/main" id="{65C35479-8B55-904F-A2E6-D7C25A732B64}"/>
              </a:ext>
            </a:extLst>
          </p:cNvPr>
          <p:cNvSpPr/>
          <p:nvPr userDrawn="1"/>
        </p:nvSpPr>
        <p:spPr>
          <a:xfrm rot="3600000">
            <a:off x="12038485" y="1926196"/>
            <a:ext cx="340125" cy="1573824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3000">
                <a:schemeClr val="accent3"/>
              </a:gs>
              <a:gs pos="76000">
                <a:schemeClr val="accent3">
                  <a:alpha val="0"/>
                </a:schemeClr>
              </a:gs>
            </a:gsLst>
            <a:lin ang="6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B6B3AFC-8B58-8242-946B-B4BC023B01C7}"/>
              </a:ext>
            </a:extLst>
          </p:cNvPr>
          <p:cNvSpPr/>
          <p:nvPr userDrawn="1"/>
        </p:nvSpPr>
        <p:spPr>
          <a:xfrm>
            <a:off x="11805916" y="5227157"/>
            <a:ext cx="314405" cy="314405"/>
          </a:xfrm>
          <a:prstGeom prst="ellipse">
            <a:avLst/>
          </a:prstGeom>
          <a:gradFill>
            <a:gsLst>
              <a:gs pos="11000">
                <a:schemeClr val="bg1">
                  <a:alpha val="20000"/>
                </a:schemeClr>
              </a:gs>
              <a:gs pos="77000">
                <a:schemeClr val="bg1">
                  <a:alpha val="8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22CEBEE-9834-1D4D-948D-E4044809E941}"/>
              </a:ext>
            </a:extLst>
          </p:cNvPr>
          <p:cNvSpPr/>
          <p:nvPr userDrawn="1"/>
        </p:nvSpPr>
        <p:spPr>
          <a:xfrm>
            <a:off x="8184232" y="476672"/>
            <a:ext cx="3764441" cy="3764441"/>
          </a:xfrm>
          <a:prstGeom prst="ellipse">
            <a:avLst/>
          </a:prstGeom>
          <a:gradFill>
            <a:gsLst>
              <a:gs pos="6000">
                <a:schemeClr val="accent1">
                  <a:alpha val="2000"/>
                </a:schemeClr>
              </a:gs>
              <a:gs pos="57000">
                <a:schemeClr val="accent1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9" name="Circle: Hollow 30">
            <a:extLst>
              <a:ext uri="{FF2B5EF4-FFF2-40B4-BE49-F238E27FC236}">
                <a16:creationId xmlns:a16="http://schemas.microsoft.com/office/drawing/2014/main" id="{68A9A637-1D48-074F-BB33-B92DABF8BE16}"/>
              </a:ext>
            </a:extLst>
          </p:cNvPr>
          <p:cNvSpPr/>
          <p:nvPr userDrawn="1"/>
        </p:nvSpPr>
        <p:spPr>
          <a:xfrm>
            <a:off x="7966767" y="257514"/>
            <a:ext cx="1366032" cy="1366032"/>
          </a:xfrm>
          <a:prstGeom prst="donut">
            <a:avLst>
              <a:gd name="adj" fmla="val 174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0" name="Rectangle: Rounded Corners 31">
            <a:extLst>
              <a:ext uri="{FF2B5EF4-FFF2-40B4-BE49-F238E27FC236}">
                <a16:creationId xmlns:a16="http://schemas.microsoft.com/office/drawing/2014/main" id="{ADE80E68-7BC4-0B48-8F80-33F4488EBDA5}"/>
              </a:ext>
            </a:extLst>
          </p:cNvPr>
          <p:cNvSpPr/>
          <p:nvPr userDrawn="1"/>
        </p:nvSpPr>
        <p:spPr>
          <a:xfrm rot="3600000">
            <a:off x="9743900" y="4079217"/>
            <a:ext cx="796273" cy="395343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0000">
                <a:schemeClr val="accent4"/>
              </a:gs>
              <a:gs pos="100000">
                <a:schemeClr val="accent4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1" name="Rectangle: Rounded Corners 32">
            <a:extLst>
              <a:ext uri="{FF2B5EF4-FFF2-40B4-BE49-F238E27FC236}">
                <a16:creationId xmlns:a16="http://schemas.microsoft.com/office/drawing/2014/main" id="{4CAC1AF2-BB54-3043-97ED-30677CB46C03}"/>
              </a:ext>
            </a:extLst>
          </p:cNvPr>
          <p:cNvSpPr/>
          <p:nvPr userDrawn="1"/>
        </p:nvSpPr>
        <p:spPr>
          <a:xfrm rot="3600000">
            <a:off x="7645459" y="4013801"/>
            <a:ext cx="1234980" cy="497495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1"/>
              </a:gs>
              <a:gs pos="0">
                <a:schemeClr val="accent1">
                  <a:alpha val="1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2" name="Rectangle: Rounded Corners 33">
            <a:extLst>
              <a:ext uri="{FF2B5EF4-FFF2-40B4-BE49-F238E27FC236}">
                <a16:creationId xmlns:a16="http://schemas.microsoft.com/office/drawing/2014/main" id="{76933440-7AC3-B048-8D95-5D824ECB2966}"/>
              </a:ext>
            </a:extLst>
          </p:cNvPr>
          <p:cNvSpPr/>
          <p:nvPr userDrawn="1"/>
        </p:nvSpPr>
        <p:spPr>
          <a:xfrm rot="3600000">
            <a:off x="10312872" y="6210190"/>
            <a:ext cx="171800" cy="1297958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3" name="Rectangle: Rounded Corners 34">
            <a:extLst>
              <a:ext uri="{FF2B5EF4-FFF2-40B4-BE49-F238E27FC236}">
                <a16:creationId xmlns:a16="http://schemas.microsoft.com/office/drawing/2014/main" id="{1640B447-5734-524C-AD31-D881A989448D}"/>
              </a:ext>
            </a:extLst>
          </p:cNvPr>
          <p:cNvSpPr/>
          <p:nvPr userDrawn="1"/>
        </p:nvSpPr>
        <p:spPr>
          <a:xfrm rot="3600000">
            <a:off x="11664668" y="2451242"/>
            <a:ext cx="796273" cy="274151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2000">
                <a:schemeClr val="accent6"/>
              </a:gs>
              <a:gs pos="83000">
                <a:schemeClr val="accent6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6246303A-45D8-1C48-AFAD-CB94A407177D}"/>
              </a:ext>
            </a:extLst>
          </p:cNvPr>
          <p:cNvSpPr/>
          <p:nvPr userDrawn="1"/>
        </p:nvSpPr>
        <p:spPr>
          <a:xfrm>
            <a:off x="11658774" y="1533818"/>
            <a:ext cx="462455" cy="462454"/>
          </a:xfrm>
          <a:prstGeom prst="ellipse">
            <a:avLst/>
          </a:prstGeom>
          <a:gradFill>
            <a:gsLst>
              <a:gs pos="11000">
                <a:schemeClr val="accent1">
                  <a:alpha val="0"/>
                </a:schemeClr>
              </a:gs>
              <a:gs pos="77000">
                <a:schemeClr val="accent1">
                  <a:alpha val="8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5" name="Rectangle: Rounded Corners 36">
            <a:extLst>
              <a:ext uri="{FF2B5EF4-FFF2-40B4-BE49-F238E27FC236}">
                <a16:creationId xmlns:a16="http://schemas.microsoft.com/office/drawing/2014/main" id="{0859E1D4-EC1B-1946-94CB-E79999390306}"/>
              </a:ext>
            </a:extLst>
          </p:cNvPr>
          <p:cNvSpPr/>
          <p:nvPr userDrawn="1"/>
        </p:nvSpPr>
        <p:spPr>
          <a:xfrm rot="3600000">
            <a:off x="6991995" y="2973278"/>
            <a:ext cx="924886" cy="6194983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8000">
                <a:schemeClr val="accent5">
                  <a:alpha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35ADA83-D881-4044-AFE0-298DA86764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77215819-A847-5241-B583-AD63535F3E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6F8ECB5-E7B2-7A4B-8B99-DB635BCCE149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21" name="Freeform 1">
              <a:extLst>
                <a:ext uri="{FF2B5EF4-FFF2-40B4-BE49-F238E27FC236}">
                  <a16:creationId xmlns:a16="http://schemas.microsoft.com/office/drawing/2014/main" id="{F5A30EBD-E82B-704B-82C3-3EA30A2566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2" name="Freeform 2">
              <a:extLst>
                <a:ext uri="{FF2B5EF4-FFF2-40B4-BE49-F238E27FC236}">
                  <a16:creationId xmlns:a16="http://schemas.microsoft.com/office/drawing/2014/main" id="{052C18BC-4691-C944-B4F8-D34EE5BAAE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3" name="Freeform 3">
              <a:extLst>
                <a:ext uri="{FF2B5EF4-FFF2-40B4-BE49-F238E27FC236}">
                  <a16:creationId xmlns:a16="http://schemas.microsoft.com/office/drawing/2014/main" id="{C8FE4F66-26D3-F14D-BC0D-9563E27AD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4" name="Freeform 4">
              <a:extLst>
                <a:ext uri="{FF2B5EF4-FFF2-40B4-BE49-F238E27FC236}">
                  <a16:creationId xmlns:a16="http://schemas.microsoft.com/office/drawing/2014/main" id="{B89CD3C7-47C6-644A-A104-4641D7DFF6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36" name="Date Placeholder 3">
            <a:extLst>
              <a:ext uri="{FF2B5EF4-FFF2-40B4-BE49-F238E27FC236}">
                <a16:creationId xmlns:a16="http://schemas.microsoft.com/office/drawing/2014/main" id="{88CFAB5D-8DF8-DC4E-AE40-50BD2AEDDF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753043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8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62BC36-3243-45C6-B8D6-90C91E4CE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8FEBB9-1991-46A8-82D5-20A2DAE344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5"/>
            <a:ext cx="5354628" cy="4789486"/>
          </a:xfrm>
        </p:spPr>
        <p:txBody>
          <a:bodyPr/>
          <a:lstStyle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71CB3D-C781-4449-861E-1FA2E0B074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0" y="1376363"/>
            <a:ext cx="5328592" cy="4789487"/>
          </a:xfrm>
        </p:spPr>
        <p:txBody>
          <a:bodyPr/>
          <a:lstStyle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3D9E60-89CF-4BF4-BEF6-984080CAB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8552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6DBC5C-C566-4F39-9723-F7D657E59B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0" y="1376363"/>
            <a:ext cx="5328593" cy="593114"/>
          </a:xfrm>
        </p:spPr>
        <p:txBody>
          <a:bodyPr anchor="t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B17CA9-1BA5-47A1-8ABC-706D96107D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2911" y="1969477"/>
            <a:ext cx="5328593" cy="4196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92719B-D74F-4EFB-B1CF-BC7D5E56A6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096000" y="1376363"/>
            <a:ext cx="5328591" cy="593114"/>
          </a:xfrm>
        </p:spPr>
        <p:txBody>
          <a:bodyPr anchor="t">
            <a:norm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66FF3E-7F4C-4D4F-A732-9308533AA8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095999" y="1969477"/>
            <a:ext cx="5328593" cy="41963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4373070-CA0D-4902-A9F1-2380E4992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F7AB2A-3DBF-4D3F-A954-196C7ED02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3322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6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2548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4641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67">
            <a:extLst>
              <a:ext uri="{FF2B5EF4-FFF2-40B4-BE49-F238E27FC236}">
                <a16:creationId xmlns:a16="http://schemas.microsoft.com/office/drawing/2014/main" id="{F6E627BD-49CF-47F3-90F5-8DE5C3B0C4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991549"/>
            <a:ext cx="921920" cy="1825043"/>
          </a:xfrm>
          <a:custGeom>
            <a:avLst/>
            <a:gdLst>
              <a:gd name="T0" fmla="*/ 155 w 215"/>
              <a:gd name="T1" fmla="*/ 105 h 427"/>
              <a:gd name="T2" fmla="*/ 0 w 215"/>
              <a:gd name="T3" fmla="*/ 0 h 427"/>
              <a:gd name="T4" fmla="*/ 0 w 215"/>
              <a:gd name="T5" fmla="*/ 66 h 427"/>
              <a:gd name="T6" fmla="*/ 98 w 215"/>
              <a:gd name="T7" fmla="*/ 137 h 427"/>
              <a:gd name="T8" fmla="*/ 43 w 215"/>
              <a:gd name="T9" fmla="*/ 343 h 427"/>
              <a:gd name="T10" fmla="*/ 0 w 215"/>
              <a:gd name="T11" fmla="*/ 359 h 427"/>
              <a:gd name="T12" fmla="*/ 0 w 215"/>
              <a:gd name="T13" fmla="*/ 426 h 427"/>
              <a:gd name="T14" fmla="*/ 76 w 215"/>
              <a:gd name="T15" fmla="*/ 400 h 427"/>
              <a:gd name="T16" fmla="*/ 155 w 215"/>
              <a:gd name="T17" fmla="*/ 105 h 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427">
                <a:moveTo>
                  <a:pt x="155" y="105"/>
                </a:moveTo>
                <a:cubicBezTo>
                  <a:pt x="121" y="47"/>
                  <a:pt x="63" y="10"/>
                  <a:pt x="0" y="0"/>
                </a:cubicBezTo>
                <a:lnTo>
                  <a:pt x="0" y="66"/>
                </a:lnTo>
                <a:cubicBezTo>
                  <a:pt x="41" y="75"/>
                  <a:pt x="77" y="100"/>
                  <a:pt x="98" y="137"/>
                </a:cubicBezTo>
                <a:cubicBezTo>
                  <a:pt x="140" y="209"/>
                  <a:pt x="115" y="301"/>
                  <a:pt x="43" y="343"/>
                </a:cubicBezTo>
                <a:cubicBezTo>
                  <a:pt x="30" y="351"/>
                  <a:pt x="15" y="356"/>
                  <a:pt x="0" y="359"/>
                </a:cubicBezTo>
                <a:lnTo>
                  <a:pt x="0" y="426"/>
                </a:lnTo>
                <a:cubicBezTo>
                  <a:pt x="26" y="422"/>
                  <a:pt x="52" y="413"/>
                  <a:pt x="76" y="400"/>
                </a:cubicBezTo>
                <a:cubicBezTo>
                  <a:pt x="179" y="340"/>
                  <a:pt x="214" y="208"/>
                  <a:pt x="155" y="105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9" name="Freeform 68">
            <a:extLst>
              <a:ext uri="{FF2B5EF4-FFF2-40B4-BE49-F238E27FC236}">
                <a16:creationId xmlns:a16="http://schemas.microsoft.com/office/drawing/2014/main" id="{73125E73-2849-4610-906B-E198401E9F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51840" y="4675650"/>
            <a:ext cx="1937932" cy="2013191"/>
          </a:xfrm>
          <a:custGeom>
            <a:avLst/>
            <a:gdLst>
              <a:gd name="T0" fmla="*/ 324 w 456"/>
              <a:gd name="T1" fmla="*/ 178 h 470"/>
              <a:gd name="T2" fmla="*/ 303 w 456"/>
              <a:gd name="T3" fmla="*/ 14 h 470"/>
              <a:gd name="T4" fmla="*/ 139 w 456"/>
              <a:gd name="T5" fmla="*/ 36 h 470"/>
              <a:gd name="T6" fmla="*/ 60 w 456"/>
              <a:gd name="T7" fmla="*/ 331 h 470"/>
              <a:gd name="T8" fmla="*/ 355 w 456"/>
              <a:gd name="T9" fmla="*/ 410 h 470"/>
              <a:gd name="T10" fmla="*/ 455 w 456"/>
              <a:gd name="T11" fmla="*/ 279 h 470"/>
              <a:gd name="T12" fmla="*/ 324 w 456"/>
              <a:gd name="T13" fmla="*/ 178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24" y="178"/>
                </a:moveTo>
                <a:cubicBezTo>
                  <a:pt x="294" y="126"/>
                  <a:pt x="288" y="67"/>
                  <a:pt x="303" y="14"/>
                </a:cubicBezTo>
                <a:cubicBezTo>
                  <a:pt x="249" y="0"/>
                  <a:pt x="190" y="6"/>
                  <a:pt x="139" y="36"/>
                </a:cubicBezTo>
                <a:cubicBezTo>
                  <a:pt x="36" y="95"/>
                  <a:pt x="0" y="227"/>
                  <a:pt x="60" y="331"/>
                </a:cubicBezTo>
                <a:cubicBezTo>
                  <a:pt x="119" y="434"/>
                  <a:pt x="252" y="469"/>
                  <a:pt x="355" y="410"/>
                </a:cubicBezTo>
                <a:cubicBezTo>
                  <a:pt x="406" y="380"/>
                  <a:pt x="441" y="332"/>
                  <a:pt x="455" y="279"/>
                </a:cubicBezTo>
                <a:cubicBezTo>
                  <a:pt x="402" y="264"/>
                  <a:pt x="354" y="230"/>
                  <a:pt x="324" y="178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69">
            <a:extLst>
              <a:ext uri="{FF2B5EF4-FFF2-40B4-BE49-F238E27FC236}">
                <a16:creationId xmlns:a16="http://schemas.microsoft.com/office/drawing/2014/main" id="{085EC0CD-5537-4033-95BA-5B7BE2956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69576" y="1947508"/>
            <a:ext cx="451556" cy="733772"/>
          </a:xfrm>
          <a:custGeom>
            <a:avLst/>
            <a:gdLst>
              <a:gd name="T0" fmla="*/ 7 w 107"/>
              <a:gd name="T1" fmla="*/ 0 h 173"/>
              <a:gd name="T2" fmla="*/ 24 w 107"/>
              <a:gd name="T3" fmla="*/ 105 h 173"/>
              <a:gd name="T4" fmla="*/ 106 w 107"/>
              <a:gd name="T5" fmla="*/ 172 h 173"/>
              <a:gd name="T6" fmla="*/ 77 w 107"/>
              <a:gd name="T7" fmla="*/ 74 h 173"/>
              <a:gd name="T8" fmla="*/ 7 w 107"/>
              <a:gd name="T9" fmla="*/ 0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3">
                <a:moveTo>
                  <a:pt x="7" y="0"/>
                </a:moveTo>
                <a:cubicBezTo>
                  <a:pt x="0" y="36"/>
                  <a:pt x="6" y="73"/>
                  <a:pt x="24" y="105"/>
                </a:cubicBezTo>
                <a:cubicBezTo>
                  <a:pt x="42" y="136"/>
                  <a:pt x="72" y="160"/>
                  <a:pt x="106" y="172"/>
                </a:cubicBezTo>
                <a:cubicBezTo>
                  <a:pt x="104" y="138"/>
                  <a:pt x="95" y="105"/>
                  <a:pt x="77" y="74"/>
                </a:cubicBezTo>
                <a:cubicBezTo>
                  <a:pt x="59" y="43"/>
                  <a:pt x="35" y="18"/>
                  <a:pt x="7" y="0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70">
            <a:extLst>
              <a:ext uri="{FF2B5EF4-FFF2-40B4-BE49-F238E27FC236}">
                <a16:creationId xmlns:a16="http://schemas.microsoft.com/office/drawing/2014/main" id="{1F65C563-1A5F-4974-AE3F-43C15F4DF6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70862" y="1752545"/>
            <a:ext cx="1937920" cy="2013179"/>
          </a:xfrm>
          <a:custGeom>
            <a:avLst/>
            <a:gdLst>
              <a:gd name="T0" fmla="*/ 355 w 456"/>
              <a:gd name="T1" fmla="*/ 409 h 470"/>
              <a:gd name="T2" fmla="*/ 455 w 456"/>
              <a:gd name="T3" fmla="*/ 279 h 470"/>
              <a:gd name="T4" fmla="*/ 324 w 456"/>
              <a:gd name="T5" fmla="*/ 178 h 470"/>
              <a:gd name="T6" fmla="*/ 303 w 456"/>
              <a:gd name="T7" fmla="*/ 14 h 470"/>
              <a:gd name="T8" fmla="*/ 139 w 456"/>
              <a:gd name="T9" fmla="*/ 36 h 470"/>
              <a:gd name="T10" fmla="*/ 60 w 456"/>
              <a:gd name="T11" fmla="*/ 331 h 470"/>
              <a:gd name="T12" fmla="*/ 355 w 456"/>
              <a:gd name="T13" fmla="*/ 409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6" h="470">
                <a:moveTo>
                  <a:pt x="355" y="409"/>
                </a:moveTo>
                <a:cubicBezTo>
                  <a:pt x="407" y="379"/>
                  <a:pt x="441" y="332"/>
                  <a:pt x="455" y="279"/>
                </a:cubicBezTo>
                <a:cubicBezTo>
                  <a:pt x="402" y="265"/>
                  <a:pt x="353" y="229"/>
                  <a:pt x="324" y="178"/>
                </a:cubicBezTo>
                <a:cubicBezTo>
                  <a:pt x="294" y="126"/>
                  <a:pt x="288" y="68"/>
                  <a:pt x="303" y="14"/>
                </a:cubicBezTo>
                <a:cubicBezTo>
                  <a:pt x="249" y="0"/>
                  <a:pt x="191" y="6"/>
                  <a:pt x="139" y="36"/>
                </a:cubicBezTo>
                <a:cubicBezTo>
                  <a:pt x="36" y="96"/>
                  <a:pt x="0" y="228"/>
                  <a:pt x="60" y="331"/>
                </a:cubicBezTo>
                <a:cubicBezTo>
                  <a:pt x="120" y="433"/>
                  <a:pt x="252" y="469"/>
                  <a:pt x="355" y="409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2" name="Freeform 71">
            <a:extLst>
              <a:ext uri="{FF2B5EF4-FFF2-40B4-BE49-F238E27FC236}">
                <a16:creationId xmlns:a16="http://schemas.microsoft.com/office/drawing/2014/main" id="{E52E6DC7-3D71-4068-8E4B-4198314DF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039" y="1147698"/>
            <a:ext cx="1937932" cy="1843852"/>
          </a:xfrm>
          <a:custGeom>
            <a:avLst/>
            <a:gdLst>
              <a:gd name="T0" fmla="*/ 63 w 456"/>
              <a:gd name="T1" fmla="*/ 177 h 433"/>
              <a:gd name="T2" fmla="*/ 133 w 456"/>
              <a:gd name="T3" fmla="*/ 86 h 433"/>
              <a:gd name="T4" fmla="*/ 208 w 456"/>
              <a:gd name="T5" fmla="*/ 66 h 433"/>
              <a:gd name="T6" fmla="*/ 208 w 456"/>
              <a:gd name="T7" fmla="*/ 66 h 433"/>
              <a:gd name="T8" fmla="*/ 339 w 456"/>
              <a:gd name="T9" fmla="*/ 141 h 433"/>
              <a:gd name="T10" fmla="*/ 284 w 456"/>
              <a:gd name="T11" fmla="*/ 347 h 433"/>
              <a:gd name="T12" fmla="*/ 209 w 456"/>
              <a:gd name="T13" fmla="*/ 367 h 433"/>
              <a:gd name="T14" fmla="*/ 160 w 456"/>
              <a:gd name="T15" fmla="*/ 359 h 433"/>
              <a:gd name="T16" fmla="*/ 152 w 456"/>
              <a:gd name="T17" fmla="*/ 425 h 433"/>
              <a:gd name="T18" fmla="*/ 209 w 456"/>
              <a:gd name="T19" fmla="*/ 432 h 433"/>
              <a:gd name="T20" fmla="*/ 316 w 456"/>
              <a:gd name="T21" fmla="*/ 403 h 433"/>
              <a:gd name="T22" fmla="*/ 395 w 456"/>
              <a:gd name="T23" fmla="*/ 108 h 433"/>
              <a:gd name="T24" fmla="*/ 208 w 456"/>
              <a:gd name="T25" fmla="*/ 0 h 433"/>
              <a:gd name="T26" fmla="*/ 100 w 456"/>
              <a:gd name="T27" fmla="*/ 29 h 433"/>
              <a:gd name="T28" fmla="*/ 0 w 456"/>
              <a:gd name="T29" fmla="*/ 160 h 433"/>
              <a:gd name="T30" fmla="*/ 61 w 456"/>
              <a:gd name="T31" fmla="*/ 187 h 433"/>
              <a:gd name="T32" fmla="*/ 63 w 456"/>
              <a:gd name="T33" fmla="*/ 177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56" h="433">
                <a:moveTo>
                  <a:pt x="63" y="177"/>
                </a:moveTo>
                <a:cubicBezTo>
                  <a:pt x="73" y="139"/>
                  <a:pt x="98" y="106"/>
                  <a:pt x="133" y="86"/>
                </a:cubicBezTo>
                <a:cubicBezTo>
                  <a:pt x="156" y="73"/>
                  <a:pt x="182" y="66"/>
                  <a:pt x="208" y="66"/>
                </a:cubicBezTo>
                <a:lnTo>
                  <a:pt x="208" y="66"/>
                </a:lnTo>
                <a:cubicBezTo>
                  <a:pt x="262" y="66"/>
                  <a:pt x="312" y="95"/>
                  <a:pt x="339" y="141"/>
                </a:cubicBezTo>
                <a:cubicBezTo>
                  <a:pt x="380" y="213"/>
                  <a:pt x="356" y="305"/>
                  <a:pt x="284" y="347"/>
                </a:cubicBezTo>
                <a:cubicBezTo>
                  <a:pt x="261" y="360"/>
                  <a:pt x="235" y="367"/>
                  <a:pt x="209" y="367"/>
                </a:cubicBezTo>
                <a:cubicBezTo>
                  <a:pt x="192" y="367"/>
                  <a:pt x="175" y="364"/>
                  <a:pt x="160" y="359"/>
                </a:cubicBezTo>
                <a:cubicBezTo>
                  <a:pt x="161" y="381"/>
                  <a:pt x="158" y="403"/>
                  <a:pt x="152" y="425"/>
                </a:cubicBezTo>
                <a:cubicBezTo>
                  <a:pt x="171" y="430"/>
                  <a:pt x="190" y="432"/>
                  <a:pt x="209" y="432"/>
                </a:cubicBezTo>
                <a:cubicBezTo>
                  <a:pt x="245" y="432"/>
                  <a:pt x="282" y="423"/>
                  <a:pt x="316" y="403"/>
                </a:cubicBezTo>
                <a:cubicBezTo>
                  <a:pt x="420" y="344"/>
                  <a:pt x="455" y="212"/>
                  <a:pt x="395" y="108"/>
                </a:cubicBezTo>
                <a:cubicBezTo>
                  <a:pt x="355" y="39"/>
                  <a:pt x="283" y="0"/>
                  <a:pt x="208" y="0"/>
                </a:cubicBezTo>
                <a:cubicBezTo>
                  <a:pt x="172" y="0"/>
                  <a:pt x="134" y="10"/>
                  <a:pt x="100" y="29"/>
                </a:cubicBezTo>
                <a:cubicBezTo>
                  <a:pt x="49" y="59"/>
                  <a:pt x="14" y="107"/>
                  <a:pt x="0" y="160"/>
                </a:cubicBezTo>
                <a:cubicBezTo>
                  <a:pt x="21" y="166"/>
                  <a:pt x="42" y="175"/>
                  <a:pt x="61" y="187"/>
                </a:cubicBezTo>
                <a:cubicBezTo>
                  <a:pt x="61" y="184"/>
                  <a:pt x="62" y="181"/>
                  <a:pt x="63" y="177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72">
            <a:extLst>
              <a:ext uri="{FF2B5EF4-FFF2-40B4-BE49-F238E27FC236}">
                <a16:creationId xmlns:a16="http://schemas.microsoft.com/office/drawing/2014/main" id="{B6315EE1-5FAA-4D29-AA3E-9E77D9BD6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Freeform 73">
            <a:extLst>
              <a:ext uri="{FF2B5EF4-FFF2-40B4-BE49-F238E27FC236}">
                <a16:creationId xmlns:a16="http://schemas.microsoft.com/office/drawing/2014/main" id="{1EC5BEE1-0724-4108-9E09-B51210C48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77772" y="1825031"/>
            <a:ext cx="752593" cy="1128889"/>
          </a:xfrm>
          <a:custGeom>
            <a:avLst/>
            <a:gdLst>
              <a:gd name="T0" fmla="*/ 36 w 177"/>
              <a:gd name="T1" fmla="*/ 164 h 266"/>
              <a:gd name="T2" fmla="*/ 167 w 177"/>
              <a:gd name="T3" fmla="*/ 265 h 266"/>
              <a:gd name="T4" fmla="*/ 175 w 177"/>
              <a:gd name="T5" fmla="*/ 199 h 266"/>
              <a:gd name="T6" fmla="*/ 93 w 177"/>
              <a:gd name="T7" fmla="*/ 132 h 266"/>
              <a:gd name="T8" fmla="*/ 76 w 177"/>
              <a:gd name="T9" fmla="*/ 27 h 266"/>
              <a:gd name="T10" fmla="*/ 15 w 177"/>
              <a:gd name="T11" fmla="*/ 0 h 266"/>
              <a:gd name="T12" fmla="*/ 36 w 177"/>
              <a:gd name="T13" fmla="*/ 164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7" h="266">
                <a:moveTo>
                  <a:pt x="36" y="164"/>
                </a:moveTo>
                <a:cubicBezTo>
                  <a:pt x="66" y="216"/>
                  <a:pt x="114" y="251"/>
                  <a:pt x="167" y="265"/>
                </a:cubicBezTo>
                <a:cubicBezTo>
                  <a:pt x="173" y="243"/>
                  <a:pt x="176" y="221"/>
                  <a:pt x="175" y="199"/>
                </a:cubicBezTo>
                <a:cubicBezTo>
                  <a:pt x="141" y="187"/>
                  <a:pt x="111" y="163"/>
                  <a:pt x="93" y="132"/>
                </a:cubicBezTo>
                <a:cubicBezTo>
                  <a:pt x="75" y="100"/>
                  <a:pt x="69" y="63"/>
                  <a:pt x="76" y="27"/>
                </a:cubicBezTo>
                <a:cubicBezTo>
                  <a:pt x="57" y="15"/>
                  <a:pt x="36" y="6"/>
                  <a:pt x="15" y="0"/>
                </a:cubicBezTo>
                <a:cubicBezTo>
                  <a:pt x="0" y="54"/>
                  <a:pt x="7" y="113"/>
                  <a:pt x="36" y="164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5" name="Freeform 74">
            <a:extLst>
              <a:ext uri="{FF2B5EF4-FFF2-40B4-BE49-F238E27FC236}">
                <a16:creationId xmlns:a16="http://schemas.microsoft.com/office/drawing/2014/main" id="{0FFA210F-24E4-4D21-9E52-062CE00C17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963" y="4280365"/>
            <a:ext cx="5531556" cy="2577635"/>
          </a:xfrm>
          <a:custGeom>
            <a:avLst/>
            <a:gdLst>
              <a:gd name="T0" fmla="*/ 1237 w 1298"/>
              <a:gd name="T1" fmla="*/ 139 h 605"/>
              <a:gd name="T2" fmla="*/ 942 w 1298"/>
              <a:gd name="T3" fmla="*/ 60 h 605"/>
              <a:gd name="T4" fmla="*/ 0 w 1298"/>
              <a:gd name="T5" fmla="*/ 604 h 605"/>
              <a:gd name="T6" fmla="*/ 864 w 1298"/>
              <a:gd name="T7" fmla="*/ 604 h 605"/>
              <a:gd name="T8" fmla="*/ 1158 w 1298"/>
              <a:gd name="T9" fmla="*/ 434 h 605"/>
              <a:gd name="T10" fmla="*/ 1237 w 1298"/>
              <a:gd name="T11" fmla="*/ 139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8" h="605">
                <a:moveTo>
                  <a:pt x="1237" y="139"/>
                </a:moveTo>
                <a:cubicBezTo>
                  <a:pt x="1177" y="36"/>
                  <a:pt x="1045" y="0"/>
                  <a:pt x="942" y="60"/>
                </a:cubicBezTo>
                <a:lnTo>
                  <a:pt x="0" y="604"/>
                </a:lnTo>
                <a:lnTo>
                  <a:pt x="864" y="604"/>
                </a:lnTo>
                <a:lnTo>
                  <a:pt x="1158" y="434"/>
                </a:lnTo>
                <a:cubicBezTo>
                  <a:pt x="1261" y="374"/>
                  <a:pt x="1297" y="242"/>
                  <a:pt x="1237" y="139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6" name="Freeform 75">
            <a:extLst>
              <a:ext uri="{FF2B5EF4-FFF2-40B4-BE49-F238E27FC236}">
                <a16:creationId xmlns:a16="http://schemas.microsoft.com/office/drawing/2014/main" id="{3E1A5540-8089-4989-A345-C0649F6FAC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65920" y="3236148"/>
            <a:ext cx="2126080" cy="2690512"/>
          </a:xfrm>
          <a:custGeom>
            <a:avLst/>
            <a:gdLst>
              <a:gd name="T0" fmla="*/ 15 w 499"/>
              <a:gd name="T1" fmla="*/ 352 h 632"/>
              <a:gd name="T2" fmla="*/ 36 w 499"/>
              <a:gd name="T3" fmla="*/ 516 h 632"/>
              <a:gd name="T4" fmla="*/ 167 w 499"/>
              <a:gd name="T5" fmla="*/ 617 h 632"/>
              <a:gd name="T6" fmla="*/ 331 w 499"/>
              <a:gd name="T7" fmla="*/ 595 h 632"/>
              <a:gd name="T8" fmla="*/ 498 w 499"/>
              <a:gd name="T9" fmla="*/ 499 h 632"/>
              <a:gd name="T10" fmla="*/ 498 w 499"/>
              <a:gd name="T11" fmla="*/ 0 h 632"/>
              <a:gd name="T12" fmla="*/ 115 w 499"/>
              <a:gd name="T13" fmla="*/ 221 h 632"/>
              <a:gd name="T14" fmla="*/ 15 w 499"/>
              <a:gd name="T15" fmla="*/ 352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99" h="632">
                <a:moveTo>
                  <a:pt x="15" y="352"/>
                </a:moveTo>
                <a:cubicBezTo>
                  <a:pt x="0" y="405"/>
                  <a:pt x="6" y="464"/>
                  <a:pt x="36" y="516"/>
                </a:cubicBezTo>
                <a:cubicBezTo>
                  <a:pt x="66" y="568"/>
                  <a:pt x="114" y="602"/>
                  <a:pt x="167" y="617"/>
                </a:cubicBezTo>
                <a:cubicBezTo>
                  <a:pt x="221" y="631"/>
                  <a:pt x="280" y="625"/>
                  <a:pt x="331" y="595"/>
                </a:cubicBezTo>
                <a:lnTo>
                  <a:pt x="498" y="499"/>
                </a:lnTo>
                <a:lnTo>
                  <a:pt x="498" y="0"/>
                </a:lnTo>
                <a:lnTo>
                  <a:pt x="115" y="221"/>
                </a:lnTo>
                <a:cubicBezTo>
                  <a:pt x="64" y="251"/>
                  <a:pt x="29" y="299"/>
                  <a:pt x="15" y="352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8C16E441-DE46-4AD1-AC51-EA11737B6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77926" y="0"/>
            <a:ext cx="3988741" cy="1712142"/>
          </a:xfrm>
          <a:custGeom>
            <a:avLst/>
            <a:gdLst>
              <a:gd name="T0" fmla="*/ 50 w 934"/>
              <a:gd name="T1" fmla="*/ 260 h 400"/>
              <a:gd name="T2" fmla="*/ 345 w 934"/>
              <a:gd name="T3" fmla="*/ 339 h 400"/>
              <a:gd name="T4" fmla="*/ 933 w 934"/>
              <a:gd name="T5" fmla="*/ 0 h 400"/>
              <a:gd name="T6" fmla="*/ 84 w 934"/>
              <a:gd name="T7" fmla="*/ 0 h 400"/>
              <a:gd name="T8" fmla="*/ 50 w 934"/>
              <a:gd name="T9" fmla="*/ 260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4" h="400">
                <a:moveTo>
                  <a:pt x="50" y="260"/>
                </a:moveTo>
                <a:cubicBezTo>
                  <a:pt x="110" y="363"/>
                  <a:pt x="242" y="399"/>
                  <a:pt x="345" y="339"/>
                </a:cubicBezTo>
                <a:lnTo>
                  <a:pt x="933" y="0"/>
                </a:lnTo>
                <a:lnTo>
                  <a:pt x="84" y="0"/>
                </a:lnTo>
                <a:cubicBezTo>
                  <a:pt x="17" y="67"/>
                  <a:pt x="0" y="174"/>
                  <a:pt x="50" y="260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9DBBEB-CFD6-4E01-A45F-4CB0419CF96A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1343025" y="2083034"/>
            <a:ext cx="7200900" cy="1612666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8E103B-4121-4BCA-89E5-49B0F4DAAC9B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1343025" y="3066707"/>
            <a:ext cx="7200900" cy="1154381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39891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846">
          <p15:clr>
            <a:srgbClr val="FBAE40"/>
          </p15:clr>
        </p15:guide>
        <p15:guide id="2" pos="538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3C38C040-C7F5-455F-9FDF-D67805C679F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693414" y="-2414"/>
            <a:ext cx="7498586" cy="6415974"/>
          </a:xfrm>
          <a:custGeom>
            <a:avLst/>
            <a:gdLst>
              <a:gd name="connsiteX0" fmla="*/ 0 w 7510462"/>
              <a:gd name="connsiteY0" fmla="*/ 3206750 h 6413500"/>
              <a:gd name="connsiteX1" fmla="*/ 3755231 w 7510462"/>
              <a:gd name="connsiteY1" fmla="*/ 0 h 6413500"/>
              <a:gd name="connsiteX2" fmla="*/ 7510462 w 7510462"/>
              <a:gd name="connsiteY2" fmla="*/ 0 h 6413500"/>
              <a:gd name="connsiteX3" fmla="*/ 7510462 w 7510462"/>
              <a:gd name="connsiteY3" fmla="*/ 3206750 h 6413500"/>
              <a:gd name="connsiteX4" fmla="*/ 3755231 w 7510462"/>
              <a:gd name="connsiteY4" fmla="*/ 6413500 h 6413500"/>
              <a:gd name="connsiteX5" fmla="*/ 0 w 7510462"/>
              <a:gd name="connsiteY5" fmla="*/ 3206750 h 6413500"/>
              <a:gd name="connsiteX0" fmla="*/ 2908 w 7513370"/>
              <a:gd name="connsiteY0" fmla="*/ 3206750 h 6401625"/>
              <a:gd name="connsiteX1" fmla="*/ 3758139 w 7513370"/>
              <a:gd name="connsiteY1" fmla="*/ 0 h 6401625"/>
              <a:gd name="connsiteX2" fmla="*/ 7513370 w 7513370"/>
              <a:gd name="connsiteY2" fmla="*/ 0 h 6401625"/>
              <a:gd name="connsiteX3" fmla="*/ 7513370 w 7513370"/>
              <a:gd name="connsiteY3" fmla="*/ 3206750 h 6401625"/>
              <a:gd name="connsiteX4" fmla="*/ 3318752 w 7513370"/>
              <a:gd name="connsiteY4" fmla="*/ 6401625 h 6401625"/>
              <a:gd name="connsiteX5" fmla="*/ 2908 w 7513370"/>
              <a:gd name="connsiteY5" fmla="*/ 3206750 h 6401625"/>
              <a:gd name="connsiteX0" fmla="*/ 1834 w 7512296"/>
              <a:gd name="connsiteY0" fmla="*/ 3206750 h 6465504"/>
              <a:gd name="connsiteX1" fmla="*/ 3757065 w 7512296"/>
              <a:gd name="connsiteY1" fmla="*/ 0 h 6465504"/>
              <a:gd name="connsiteX2" fmla="*/ 7512296 w 7512296"/>
              <a:gd name="connsiteY2" fmla="*/ 0 h 6465504"/>
              <a:gd name="connsiteX3" fmla="*/ 7512296 w 7512296"/>
              <a:gd name="connsiteY3" fmla="*/ 4548662 h 6465504"/>
              <a:gd name="connsiteX4" fmla="*/ 3317678 w 7512296"/>
              <a:gd name="connsiteY4" fmla="*/ 6401625 h 6465504"/>
              <a:gd name="connsiteX5" fmla="*/ 1834 w 7512296"/>
              <a:gd name="connsiteY5" fmla="*/ 3206750 h 6465504"/>
              <a:gd name="connsiteX0" fmla="*/ 1834 w 7512296"/>
              <a:gd name="connsiteY0" fmla="*/ 3206750 h 6433966"/>
              <a:gd name="connsiteX1" fmla="*/ 3757065 w 7512296"/>
              <a:gd name="connsiteY1" fmla="*/ 0 h 6433966"/>
              <a:gd name="connsiteX2" fmla="*/ 7512296 w 7512296"/>
              <a:gd name="connsiteY2" fmla="*/ 0 h 6433966"/>
              <a:gd name="connsiteX3" fmla="*/ 7512296 w 7512296"/>
              <a:gd name="connsiteY3" fmla="*/ 4548662 h 6433966"/>
              <a:gd name="connsiteX4" fmla="*/ 3317678 w 7512296"/>
              <a:gd name="connsiteY4" fmla="*/ 6401625 h 6433966"/>
              <a:gd name="connsiteX5" fmla="*/ 1834 w 7512296"/>
              <a:gd name="connsiteY5" fmla="*/ 3206750 h 6433966"/>
              <a:gd name="connsiteX0" fmla="*/ 1926 w 7512388"/>
              <a:gd name="connsiteY0" fmla="*/ 3206750 h 6401626"/>
              <a:gd name="connsiteX1" fmla="*/ 3757157 w 7512388"/>
              <a:gd name="connsiteY1" fmla="*/ 0 h 6401626"/>
              <a:gd name="connsiteX2" fmla="*/ 7512388 w 7512388"/>
              <a:gd name="connsiteY2" fmla="*/ 0 h 6401626"/>
              <a:gd name="connsiteX3" fmla="*/ 7512388 w 7512388"/>
              <a:gd name="connsiteY3" fmla="*/ 4548662 h 6401626"/>
              <a:gd name="connsiteX4" fmla="*/ 3317770 w 7512388"/>
              <a:gd name="connsiteY4" fmla="*/ 6401625 h 6401626"/>
              <a:gd name="connsiteX5" fmla="*/ 1926 w 7512388"/>
              <a:gd name="connsiteY5" fmla="*/ 3206750 h 6401626"/>
              <a:gd name="connsiteX0" fmla="*/ 2666 w 7513128"/>
              <a:gd name="connsiteY0" fmla="*/ 3206750 h 6425377"/>
              <a:gd name="connsiteX1" fmla="*/ 3757897 w 7513128"/>
              <a:gd name="connsiteY1" fmla="*/ 0 h 6425377"/>
              <a:gd name="connsiteX2" fmla="*/ 7513128 w 7513128"/>
              <a:gd name="connsiteY2" fmla="*/ 0 h 6425377"/>
              <a:gd name="connsiteX3" fmla="*/ 7513128 w 7513128"/>
              <a:gd name="connsiteY3" fmla="*/ 4548662 h 6425377"/>
              <a:gd name="connsiteX4" fmla="*/ 3247258 w 7513128"/>
              <a:gd name="connsiteY4" fmla="*/ 6425376 h 6425377"/>
              <a:gd name="connsiteX5" fmla="*/ 2666 w 7513128"/>
              <a:gd name="connsiteY5" fmla="*/ 3206750 h 6425377"/>
              <a:gd name="connsiteX0" fmla="*/ 2881 w 7513343"/>
              <a:gd name="connsiteY0" fmla="*/ 3206750 h 6425377"/>
              <a:gd name="connsiteX1" fmla="*/ 3758112 w 7513343"/>
              <a:gd name="connsiteY1" fmla="*/ 0 h 6425377"/>
              <a:gd name="connsiteX2" fmla="*/ 7513343 w 7513343"/>
              <a:gd name="connsiteY2" fmla="*/ 0 h 6425377"/>
              <a:gd name="connsiteX3" fmla="*/ 7513343 w 7513343"/>
              <a:gd name="connsiteY3" fmla="*/ 4548662 h 6425377"/>
              <a:gd name="connsiteX4" fmla="*/ 3247473 w 7513343"/>
              <a:gd name="connsiteY4" fmla="*/ 6425376 h 6425377"/>
              <a:gd name="connsiteX5" fmla="*/ 2881 w 7513343"/>
              <a:gd name="connsiteY5" fmla="*/ 3206750 h 6425377"/>
              <a:gd name="connsiteX0" fmla="*/ 2847 w 7513309"/>
              <a:gd name="connsiteY0" fmla="*/ 3206750 h 6425377"/>
              <a:gd name="connsiteX1" fmla="*/ 3758078 w 7513309"/>
              <a:gd name="connsiteY1" fmla="*/ 0 h 6425377"/>
              <a:gd name="connsiteX2" fmla="*/ 7513309 w 7513309"/>
              <a:gd name="connsiteY2" fmla="*/ 0 h 6425377"/>
              <a:gd name="connsiteX3" fmla="*/ 7513309 w 7513309"/>
              <a:gd name="connsiteY3" fmla="*/ 4548662 h 6425377"/>
              <a:gd name="connsiteX4" fmla="*/ 3247439 w 7513309"/>
              <a:gd name="connsiteY4" fmla="*/ 6425376 h 6425377"/>
              <a:gd name="connsiteX5" fmla="*/ 2847 w 7513309"/>
              <a:gd name="connsiteY5" fmla="*/ 3206750 h 6425377"/>
              <a:gd name="connsiteX0" fmla="*/ 2936 w 7513398"/>
              <a:gd name="connsiteY0" fmla="*/ 3206750 h 6425377"/>
              <a:gd name="connsiteX1" fmla="*/ 3758167 w 7513398"/>
              <a:gd name="connsiteY1" fmla="*/ 0 h 6425377"/>
              <a:gd name="connsiteX2" fmla="*/ 7513398 w 7513398"/>
              <a:gd name="connsiteY2" fmla="*/ 0 h 6425377"/>
              <a:gd name="connsiteX3" fmla="*/ 7513398 w 7513398"/>
              <a:gd name="connsiteY3" fmla="*/ 4548662 h 6425377"/>
              <a:gd name="connsiteX4" fmla="*/ 3247528 w 7513398"/>
              <a:gd name="connsiteY4" fmla="*/ 6425376 h 6425377"/>
              <a:gd name="connsiteX5" fmla="*/ 2936 w 7513398"/>
              <a:gd name="connsiteY5" fmla="*/ 3206750 h 6425377"/>
              <a:gd name="connsiteX0" fmla="*/ 113356 w 7623818"/>
              <a:gd name="connsiteY0" fmla="*/ 3206750 h 6425377"/>
              <a:gd name="connsiteX1" fmla="*/ 1909159 w 7623818"/>
              <a:gd name="connsiteY1" fmla="*/ 11876 h 6425377"/>
              <a:gd name="connsiteX2" fmla="*/ 7623818 w 7623818"/>
              <a:gd name="connsiteY2" fmla="*/ 0 h 6425377"/>
              <a:gd name="connsiteX3" fmla="*/ 7623818 w 7623818"/>
              <a:gd name="connsiteY3" fmla="*/ 4548662 h 6425377"/>
              <a:gd name="connsiteX4" fmla="*/ 3357948 w 7623818"/>
              <a:gd name="connsiteY4" fmla="*/ 6425376 h 6425377"/>
              <a:gd name="connsiteX5" fmla="*/ 113356 w 7623818"/>
              <a:gd name="connsiteY5" fmla="*/ 3206750 h 6425377"/>
              <a:gd name="connsiteX0" fmla="*/ 48773 w 7559235"/>
              <a:gd name="connsiteY0" fmla="*/ 3206750 h 6425377"/>
              <a:gd name="connsiteX1" fmla="*/ 1844576 w 7559235"/>
              <a:gd name="connsiteY1" fmla="*/ 11876 h 6425377"/>
              <a:gd name="connsiteX2" fmla="*/ 7559235 w 7559235"/>
              <a:gd name="connsiteY2" fmla="*/ 0 h 6425377"/>
              <a:gd name="connsiteX3" fmla="*/ 7559235 w 7559235"/>
              <a:gd name="connsiteY3" fmla="*/ 4548662 h 6425377"/>
              <a:gd name="connsiteX4" fmla="*/ 3293365 w 7559235"/>
              <a:gd name="connsiteY4" fmla="*/ 6425376 h 6425377"/>
              <a:gd name="connsiteX5" fmla="*/ 48773 w 7559235"/>
              <a:gd name="connsiteY5" fmla="*/ 3206750 h 6425377"/>
              <a:gd name="connsiteX0" fmla="*/ 28 w 7510490"/>
              <a:gd name="connsiteY0" fmla="*/ 3206750 h 6425377"/>
              <a:gd name="connsiteX1" fmla="*/ 1795831 w 7510490"/>
              <a:gd name="connsiteY1" fmla="*/ 11876 h 6425377"/>
              <a:gd name="connsiteX2" fmla="*/ 7510490 w 7510490"/>
              <a:gd name="connsiteY2" fmla="*/ 0 h 6425377"/>
              <a:gd name="connsiteX3" fmla="*/ 7510490 w 7510490"/>
              <a:gd name="connsiteY3" fmla="*/ 4548662 h 6425377"/>
              <a:gd name="connsiteX4" fmla="*/ 3244620 w 7510490"/>
              <a:gd name="connsiteY4" fmla="*/ 6425376 h 6425377"/>
              <a:gd name="connsiteX5" fmla="*/ 28 w 7510490"/>
              <a:gd name="connsiteY5" fmla="*/ 3206750 h 6425377"/>
              <a:gd name="connsiteX0" fmla="*/ 169 w 7510631"/>
              <a:gd name="connsiteY0" fmla="*/ 3206750 h 6425377"/>
              <a:gd name="connsiteX1" fmla="*/ 1795972 w 7510631"/>
              <a:gd name="connsiteY1" fmla="*/ 11876 h 6425377"/>
              <a:gd name="connsiteX2" fmla="*/ 7510631 w 7510631"/>
              <a:gd name="connsiteY2" fmla="*/ 0 h 6425377"/>
              <a:gd name="connsiteX3" fmla="*/ 7510631 w 7510631"/>
              <a:gd name="connsiteY3" fmla="*/ 4548662 h 6425377"/>
              <a:gd name="connsiteX4" fmla="*/ 3244761 w 7510631"/>
              <a:gd name="connsiteY4" fmla="*/ 6425376 h 6425377"/>
              <a:gd name="connsiteX5" fmla="*/ 169 w 7510631"/>
              <a:gd name="connsiteY5" fmla="*/ 3206750 h 6425377"/>
              <a:gd name="connsiteX0" fmla="*/ 28 w 7510490"/>
              <a:gd name="connsiteY0" fmla="*/ 3206750 h 6425377"/>
              <a:gd name="connsiteX1" fmla="*/ 1795831 w 7510490"/>
              <a:gd name="connsiteY1" fmla="*/ 11876 h 6425377"/>
              <a:gd name="connsiteX2" fmla="*/ 7510490 w 7510490"/>
              <a:gd name="connsiteY2" fmla="*/ 0 h 6425377"/>
              <a:gd name="connsiteX3" fmla="*/ 7510490 w 7510490"/>
              <a:gd name="connsiteY3" fmla="*/ 4548662 h 6425377"/>
              <a:gd name="connsiteX4" fmla="*/ 3244620 w 7510490"/>
              <a:gd name="connsiteY4" fmla="*/ 6425376 h 6425377"/>
              <a:gd name="connsiteX5" fmla="*/ 28 w 7510490"/>
              <a:gd name="connsiteY5" fmla="*/ 3206750 h 6425377"/>
              <a:gd name="connsiteX0" fmla="*/ 33 w 7510495"/>
              <a:gd name="connsiteY0" fmla="*/ 3206750 h 6425632"/>
              <a:gd name="connsiteX1" fmla="*/ 1795836 w 7510495"/>
              <a:gd name="connsiteY1" fmla="*/ 11876 h 6425632"/>
              <a:gd name="connsiteX2" fmla="*/ 7510495 w 7510495"/>
              <a:gd name="connsiteY2" fmla="*/ 0 h 6425632"/>
              <a:gd name="connsiteX3" fmla="*/ 7510495 w 7510495"/>
              <a:gd name="connsiteY3" fmla="*/ 4548662 h 6425632"/>
              <a:gd name="connsiteX4" fmla="*/ 3244625 w 7510495"/>
              <a:gd name="connsiteY4" fmla="*/ 6425376 h 6425632"/>
              <a:gd name="connsiteX5" fmla="*/ 33 w 7510495"/>
              <a:gd name="connsiteY5" fmla="*/ 3206750 h 6425632"/>
              <a:gd name="connsiteX0" fmla="*/ 32 w 7510494"/>
              <a:gd name="connsiteY0" fmla="*/ 3206750 h 6427368"/>
              <a:gd name="connsiteX1" fmla="*/ 1795835 w 7510494"/>
              <a:gd name="connsiteY1" fmla="*/ 11876 h 6427368"/>
              <a:gd name="connsiteX2" fmla="*/ 7510494 w 7510494"/>
              <a:gd name="connsiteY2" fmla="*/ 0 h 6427368"/>
              <a:gd name="connsiteX3" fmla="*/ 7510494 w 7510494"/>
              <a:gd name="connsiteY3" fmla="*/ 4548662 h 6427368"/>
              <a:gd name="connsiteX4" fmla="*/ 3244624 w 7510494"/>
              <a:gd name="connsiteY4" fmla="*/ 6425376 h 6427368"/>
              <a:gd name="connsiteX5" fmla="*/ 32 w 7510494"/>
              <a:gd name="connsiteY5" fmla="*/ 3206750 h 6427368"/>
              <a:gd name="connsiteX0" fmla="*/ 47590 w 7558052"/>
              <a:gd name="connsiteY0" fmla="*/ 3218624 h 6439018"/>
              <a:gd name="connsiteX1" fmla="*/ 1855268 w 7558052"/>
              <a:gd name="connsiteY1" fmla="*/ 0 h 6439018"/>
              <a:gd name="connsiteX2" fmla="*/ 7558052 w 7558052"/>
              <a:gd name="connsiteY2" fmla="*/ 11874 h 6439018"/>
              <a:gd name="connsiteX3" fmla="*/ 7558052 w 7558052"/>
              <a:gd name="connsiteY3" fmla="*/ 4560536 h 6439018"/>
              <a:gd name="connsiteX4" fmla="*/ 3292182 w 7558052"/>
              <a:gd name="connsiteY4" fmla="*/ 6437250 h 6439018"/>
              <a:gd name="connsiteX5" fmla="*/ 47590 w 7558052"/>
              <a:gd name="connsiteY5" fmla="*/ 3218624 h 6439018"/>
              <a:gd name="connsiteX0" fmla="*/ 45228 w 7555690"/>
              <a:gd name="connsiteY0" fmla="*/ 3218624 h 6439018"/>
              <a:gd name="connsiteX1" fmla="*/ 1852906 w 7555690"/>
              <a:gd name="connsiteY1" fmla="*/ 0 h 6439018"/>
              <a:gd name="connsiteX2" fmla="*/ 7555690 w 7555690"/>
              <a:gd name="connsiteY2" fmla="*/ 11874 h 6439018"/>
              <a:gd name="connsiteX3" fmla="*/ 7555690 w 7555690"/>
              <a:gd name="connsiteY3" fmla="*/ 4560536 h 6439018"/>
              <a:gd name="connsiteX4" fmla="*/ 3242319 w 7555690"/>
              <a:gd name="connsiteY4" fmla="*/ 6437250 h 6439018"/>
              <a:gd name="connsiteX5" fmla="*/ 45228 w 7555690"/>
              <a:gd name="connsiteY5" fmla="*/ 3218624 h 6439018"/>
              <a:gd name="connsiteX0" fmla="*/ 45228 w 7555690"/>
              <a:gd name="connsiteY0" fmla="*/ 3218624 h 6437316"/>
              <a:gd name="connsiteX1" fmla="*/ 1852906 w 7555690"/>
              <a:gd name="connsiteY1" fmla="*/ 0 h 6437316"/>
              <a:gd name="connsiteX2" fmla="*/ 7555690 w 7555690"/>
              <a:gd name="connsiteY2" fmla="*/ 11874 h 6437316"/>
              <a:gd name="connsiteX3" fmla="*/ 7555690 w 7555690"/>
              <a:gd name="connsiteY3" fmla="*/ 4560536 h 6437316"/>
              <a:gd name="connsiteX4" fmla="*/ 3242319 w 7555690"/>
              <a:gd name="connsiteY4" fmla="*/ 6437250 h 6437316"/>
              <a:gd name="connsiteX5" fmla="*/ 45228 w 7555690"/>
              <a:gd name="connsiteY5" fmla="*/ 3218624 h 6437316"/>
              <a:gd name="connsiteX0" fmla="*/ 44643 w 7555105"/>
              <a:gd name="connsiteY0" fmla="*/ 3218624 h 6437316"/>
              <a:gd name="connsiteX1" fmla="*/ 1852321 w 7555105"/>
              <a:gd name="connsiteY1" fmla="*/ 0 h 6437316"/>
              <a:gd name="connsiteX2" fmla="*/ 7555105 w 7555105"/>
              <a:gd name="connsiteY2" fmla="*/ 11874 h 6437316"/>
              <a:gd name="connsiteX3" fmla="*/ 7555105 w 7555105"/>
              <a:gd name="connsiteY3" fmla="*/ 4560536 h 6437316"/>
              <a:gd name="connsiteX4" fmla="*/ 3229859 w 7555105"/>
              <a:gd name="connsiteY4" fmla="*/ 6437250 h 6437316"/>
              <a:gd name="connsiteX5" fmla="*/ 44643 w 7555105"/>
              <a:gd name="connsiteY5" fmla="*/ 3218624 h 6437316"/>
              <a:gd name="connsiteX0" fmla="*/ 45201 w 7543787"/>
              <a:gd name="connsiteY0" fmla="*/ 3230499 h 6468500"/>
              <a:gd name="connsiteX1" fmla="*/ 1841003 w 7543787"/>
              <a:gd name="connsiteY1" fmla="*/ 0 h 6468500"/>
              <a:gd name="connsiteX2" fmla="*/ 7543787 w 7543787"/>
              <a:gd name="connsiteY2" fmla="*/ 11874 h 6468500"/>
              <a:gd name="connsiteX3" fmla="*/ 7543787 w 7543787"/>
              <a:gd name="connsiteY3" fmla="*/ 4560536 h 6468500"/>
              <a:gd name="connsiteX4" fmla="*/ 3218541 w 7543787"/>
              <a:gd name="connsiteY4" fmla="*/ 6437250 h 6468500"/>
              <a:gd name="connsiteX5" fmla="*/ 45201 w 7543787"/>
              <a:gd name="connsiteY5" fmla="*/ 3230499 h 6468500"/>
              <a:gd name="connsiteX0" fmla="*/ 1195 w 7499781"/>
              <a:gd name="connsiteY0" fmla="*/ 3230499 h 6468500"/>
              <a:gd name="connsiteX1" fmla="*/ 1796997 w 7499781"/>
              <a:gd name="connsiteY1" fmla="*/ 0 h 6468500"/>
              <a:gd name="connsiteX2" fmla="*/ 7499781 w 7499781"/>
              <a:gd name="connsiteY2" fmla="*/ 11874 h 6468500"/>
              <a:gd name="connsiteX3" fmla="*/ 7499781 w 7499781"/>
              <a:gd name="connsiteY3" fmla="*/ 4560536 h 6468500"/>
              <a:gd name="connsiteX4" fmla="*/ 3174535 w 7499781"/>
              <a:gd name="connsiteY4" fmla="*/ 6437250 h 6468500"/>
              <a:gd name="connsiteX5" fmla="*/ 1195 w 7499781"/>
              <a:gd name="connsiteY5" fmla="*/ 3230499 h 6468500"/>
              <a:gd name="connsiteX0" fmla="*/ 28 w 7498614"/>
              <a:gd name="connsiteY0" fmla="*/ 3230499 h 6468500"/>
              <a:gd name="connsiteX1" fmla="*/ 1795830 w 7498614"/>
              <a:gd name="connsiteY1" fmla="*/ 0 h 6468500"/>
              <a:gd name="connsiteX2" fmla="*/ 7498614 w 7498614"/>
              <a:gd name="connsiteY2" fmla="*/ 11874 h 6468500"/>
              <a:gd name="connsiteX3" fmla="*/ 7498614 w 7498614"/>
              <a:gd name="connsiteY3" fmla="*/ 4560536 h 6468500"/>
              <a:gd name="connsiteX4" fmla="*/ 3173368 w 7498614"/>
              <a:gd name="connsiteY4" fmla="*/ 6437250 h 6468500"/>
              <a:gd name="connsiteX5" fmla="*/ 28 w 7498614"/>
              <a:gd name="connsiteY5" fmla="*/ 3230499 h 6468500"/>
              <a:gd name="connsiteX0" fmla="*/ 28 w 7498614"/>
              <a:gd name="connsiteY0" fmla="*/ 3230499 h 6468500"/>
              <a:gd name="connsiteX1" fmla="*/ 1795830 w 7498614"/>
              <a:gd name="connsiteY1" fmla="*/ 0 h 6468500"/>
              <a:gd name="connsiteX2" fmla="*/ 7498614 w 7498614"/>
              <a:gd name="connsiteY2" fmla="*/ 11874 h 6468500"/>
              <a:gd name="connsiteX3" fmla="*/ 7498614 w 7498614"/>
              <a:gd name="connsiteY3" fmla="*/ 4560536 h 6468500"/>
              <a:gd name="connsiteX4" fmla="*/ 3173368 w 7498614"/>
              <a:gd name="connsiteY4" fmla="*/ 6437250 h 6468500"/>
              <a:gd name="connsiteX5" fmla="*/ 28 w 7498614"/>
              <a:gd name="connsiteY5" fmla="*/ 3230499 h 6468500"/>
              <a:gd name="connsiteX0" fmla="*/ 46977 w 7545563"/>
              <a:gd name="connsiteY0" fmla="*/ 3230499 h 6238451"/>
              <a:gd name="connsiteX1" fmla="*/ 1842779 w 7545563"/>
              <a:gd name="connsiteY1" fmla="*/ 0 h 6238451"/>
              <a:gd name="connsiteX2" fmla="*/ 7545563 w 7545563"/>
              <a:gd name="connsiteY2" fmla="*/ 11874 h 6238451"/>
              <a:gd name="connsiteX3" fmla="*/ 7545563 w 7545563"/>
              <a:gd name="connsiteY3" fmla="*/ 4560536 h 6238451"/>
              <a:gd name="connsiteX4" fmla="*/ 3255943 w 7545563"/>
              <a:gd name="connsiteY4" fmla="*/ 6199743 h 6238451"/>
              <a:gd name="connsiteX5" fmla="*/ 46977 w 7545563"/>
              <a:gd name="connsiteY5" fmla="*/ 3230499 h 6238451"/>
              <a:gd name="connsiteX0" fmla="*/ 47574 w 7546160"/>
              <a:gd name="connsiteY0" fmla="*/ 3230499 h 6445368"/>
              <a:gd name="connsiteX1" fmla="*/ 1843376 w 7546160"/>
              <a:gd name="connsiteY1" fmla="*/ 0 h 6445368"/>
              <a:gd name="connsiteX2" fmla="*/ 7546160 w 7546160"/>
              <a:gd name="connsiteY2" fmla="*/ 11874 h 6445368"/>
              <a:gd name="connsiteX3" fmla="*/ 7546160 w 7546160"/>
              <a:gd name="connsiteY3" fmla="*/ 4560536 h 6445368"/>
              <a:gd name="connsiteX4" fmla="*/ 3268415 w 7546160"/>
              <a:gd name="connsiteY4" fmla="*/ 6413499 h 6445368"/>
              <a:gd name="connsiteX5" fmla="*/ 47574 w 7546160"/>
              <a:gd name="connsiteY5" fmla="*/ 3230499 h 6445368"/>
              <a:gd name="connsiteX0" fmla="*/ 47574 w 7546160"/>
              <a:gd name="connsiteY0" fmla="*/ 3230499 h 6413560"/>
              <a:gd name="connsiteX1" fmla="*/ 1843376 w 7546160"/>
              <a:gd name="connsiteY1" fmla="*/ 0 h 6413560"/>
              <a:gd name="connsiteX2" fmla="*/ 7546160 w 7546160"/>
              <a:gd name="connsiteY2" fmla="*/ 11874 h 6413560"/>
              <a:gd name="connsiteX3" fmla="*/ 7546160 w 7546160"/>
              <a:gd name="connsiteY3" fmla="*/ 4560536 h 6413560"/>
              <a:gd name="connsiteX4" fmla="*/ 3268415 w 7546160"/>
              <a:gd name="connsiteY4" fmla="*/ 6413499 h 6413560"/>
              <a:gd name="connsiteX5" fmla="*/ 47574 w 7546160"/>
              <a:gd name="connsiteY5" fmla="*/ 3230499 h 6413560"/>
              <a:gd name="connsiteX0" fmla="*/ 0 w 7498586"/>
              <a:gd name="connsiteY0" fmla="*/ 3230499 h 6413560"/>
              <a:gd name="connsiteX1" fmla="*/ 1795802 w 7498586"/>
              <a:gd name="connsiteY1" fmla="*/ 0 h 6413560"/>
              <a:gd name="connsiteX2" fmla="*/ 7498586 w 7498586"/>
              <a:gd name="connsiteY2" fmla="*/ 11874 h 6413560"/>
              <a:gd name="connsiteX3" fmla="*/ 7498586 w 7498586"/>
              <a:gd name="connsiteY3" fmla="*/ 4560536 h 6413560"/>
              <a:gd name="connsiteX4" fmla="*/ 3220841 w 7498586"/>
              <a:gd name="connsiteY4" fmla="*/ 6413499 h 6413560"/>
              <a:gd name="connsiteX5" fmla="*/ 0 w 7498586"/>
              <a:gd name="connsiteY5" fmla="*/ 3230499 h 6413560"/>
              <a:gd name="connsiteX0" fmla="*/ 0 w 7498586"/>
              <a:gd name="connsiteY0" fmla="*/ 3230499 h 6413560"/>
              <a:gd name="connsiteX1" fmla="*/ 1795802 w 7498586"/>
              <a:gd name="connsiteY1" fmla="*/ 0 h 6413560"/>
              <a:gd name="connsiteX2" fmla="*/ 7498586 w 7498586"/>
              <a:gd name="connsiteY2" fmla="*/ 11874 h 6413560"/>
              <a:gd name="connsiteX3" fmla="*/ 7498586 w 7498586"/>
              <a:gd name="connsiteY3" fmla="*/ 4560536 h 6413560"/>
              <a:gd name="connsiteX4" fmla="*/ 3220841 w 7498586"/>
              <a:gd name="connsiteY4" fmla="*/ 6413499 h 6413560"/>
              <a:gd name="connsiteX5" fmla="*/ 0 w 7498586"/>
              <a:gd name="connsiteY5" fmla="*/ 3230499 h 6413560"/>
              <a:gd name="connsiteX0" fmla="*/ 0 w 7498586"/>
              <a:gd name="connsiteY0" fmla="*/ 3232913 h 6415974"/>
              <a:gd name="connsiteX1" fmla="*/ 1795802 w 7498586"/>
              <a:gd name="connsiteY1" fmla="*/ 2414 h 6415974"/>
              <a:gd name="connsiteX2" fmla="*/ 7493824 w 7498586"/>
              <a:gd name="connsiteY2" fmla="*/ 0 h 6415974"/>
              <a:gd name="connsiteX3" fmla="*/ 7498586 w 7498586"/>
              <a:gd name="connsiteY3" fmla="*/ 4562950 h 6415974"/>
              <a:gd name="connsiteX4" fmla="*/ 3220841 w 7498586"/>
              <a:gd name="connsiteY4" fmla="*/ 6415913 h 6415974"/>
              <a:gd name="connsiteX5" fmla="*/ 0 w 7498586"/>
              <a:gd name="connsiteY5" fmla="*/ 3232913 h 6415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98586" h="6415974">
                <a:moveTo>
                  <a:pt x="0" y="3232913"/>
                </a:moveTo>
                <a:cubicBezTo>
                  <a:pt x="0" y="1629608"/>
                  <a:pt x="564993" y="786186"/>
                  <a:pt x="1795802" y="2414"/>
                </a:cubicBezTo>
                <a:lnTo>
                  <a:pt x="7493824" y="0"/>
                </a:lnTo>
                <a:cubicBezTo>
                  <a:pt x="7493824" y="1516221"/>
                  <a:pt x="7498586" y="3046729"/>
                  <a:pt x="7498586" y="4562950"/>
                </a:cubicBezTo>
                <a:cubicBezTo>
                  <a:pt x="5646035" y="5668971"/>
                  <a:pt x="5052496" y="6423830"/>
                  <a:pt x="3220841" y="6415913"/>
                </a:cubicBezTo>
                <a:cubicBezTo>
                  <a:pt x="1389186" y="6407996"/>
                  <a:pt x="0" y="4836218"/>
                  <a:pt x="0" y="3232913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rgbClr val="00E6C7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rgbClr val="00E6C7">
              <a:alpha val="4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36566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8EBF337-E117-074B-B54E-5B792BB844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99000" y="0"/>
            <a:ext cx="7493000" cy="64135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9946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-out + image v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53486890-8BCD-EB48-9611-14633A30D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3680" y="-27384"/>
            <a:ext cx="7493000" cy="64135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9" name="Freeform 128">
            <a:extLst>
              <a:ext uri="{FF2B5EF4-FFF2-40B4-BE49-F238E27FC236}">
                <a16:creationId xmlns:a16="http://schemas.microsoft.com/office/drawing/2014/main" id="{325003AB-491A-A547-8294-FDFB309980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095591" y="3421559"/>
            <a:ext cx="1096409" cy="1871451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rgbClr val="00E6C7">
              <a:alpha val="7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2" name="Freeform 129">
            <a:extLst>
              <a:ext uri="{FF2B5EF4-FFF2-40B4-BE49-F238E27FC236}">
                <a16:creationId xmlns:a16="http://schemas.microsoft.com/office/drawing/2014/main" id="{C6AC55AE-3942-1C40-A820-EA8744B5C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81600" y="0"/>
            <a:ext cx="2079397" cy="1569005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3" name="Freeform 130">
            <a:extLst>
              <a:ext uri="{FF2B5EF4-FFF2-40B4-BE49-F238E27FC236}">
                <a16:creationId xmlns:a16="http://schemas.microsoft.com/office/drawing/2014/main" id="{AAF2A540-04E2-454F-B889-3C5BEE459F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8274" y="5213380"/>
            <a:ext cx="3856336" cy="1644620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rgbClr val="00E6C7">
              <a:alpha val="4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8716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359688DA-B1B4-4DDB-AC4A-B8038A4621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4400" y="457200"/>
            <a:ext cx="5974688" cy="594360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4">
              <a:alpha val="7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5696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5DF92D7-6BDD-774C-AB00-7080B64F6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72400" y="457200"/>
            <a:ext cx="5943600" cy="59436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5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5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015710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>
            <a:extLst>
              <a:ext uri="{FF2B5EF4-FFF2-40B4-BE49-F238E27FC236}">
                <a16:creationId xmlns:a16="http://schemas.microsoft.com/office/drawing/2014/main" id="{E125091C-CE1F-4A41-A2A9-9326BF5C3BFF}"/>
              </a:ext>
            </a:extLst>
          </p:cNvPr>
          <p:cNvSpPr/>
          <p:nvPr userDrawn="1"/>
        </p:nvSpPr>
        <p:spPr>
          <a:xfrm>
            <a:off x="11693606" y="2301854"/>
            <a:ext cx="1149350" cy="114935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865F60F-C2C6-AD46-8D46-61CA84687A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3632" y="-819472"/>
            <a:ext cx="13919981" cy="7844590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E3AE5129-87A5-B945-A1F7-7DE567E5D2E5}"/>
              </a:ext>
            </a:extLst>
          </p:cNvPr>
          <p:cNvSpPr/>
          <p:nvPr userDrawn="1"/>
        </p:nvSpPr>
        <p:spPr>
          <a:xfrm rot="20757335">
            <a:off x="6466258" y="2604804"/>
            <a:ext cx="4638089" cy="4638089"/>
          </a:xfrm>
          <a:prstGeom prst="ellipse">
            <a:avLst/>
          </a:prstGeom>
          <a:gradFill flip="none" rotWithShape="1">
            <a:gsLst>
              <a:gs pos="36000">
                <a:schemeClr val="accent6"/>
              </a:gs>
              <a:gs pos="100000">
                <a:schemeClr val="accent6"/>
              </a:gs>
              <a:gs pos="90000">
                <a:schemeClr val="accent6">
                  <a:alpha val="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D44999F7-6588-8D47-B021-5DC44E0D1AE4}"/>
              </a:ext>
            </a:extLst>
          </p:cNvPr>
          <p:cNvSpPr/>
          <p:nvPr userDrawn="1"/>
        </p:nvSpPr>
        <p:spPr>
          <a:xfrm rot="3600000">
            <a:off x="3726504" y="1761126"/>
            <a:ext cx="2220492" cy="106991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5000">
                <a:schemeClr val="bg1">
                  <a:alpha val="0"/>
                </a:schemeClr>
              </a:gs>
              <a:gs pos="28000">
                <a:srgbClr val="FFFFFF">
                  <a:alpha val="87000"/>
                </a:srgbClr>
              </a:gs>
              <a:gs pos="34000">
                <a:schemeClr val="bg1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093AAA8-6868-1749-B42D-3EF559CE3791}"/>
              </a:ext>
            </a:extLst>
          </p:cNvPr>
          <p:cNvSpPr/>
          <p:nvPr userDrawn="1"/>
        </p:nvSpPr>
        <p:spPr>
          <a:xfrm>
            <a:off x="11626926" y="1726539"/>
            <a:ext cx="174629" cy="174629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C3124A5-9B72-8947-9C36-69352D285723}"/>
              </a:ext>
            </a:extLst>
          </p:cNvPr>
          <p:cNvSpPr/>
          <p:nvPr userDrawn="1"/>
        </p:nvSpPr>
        <p:spPr>
          <a:xfrm>
            <a:off x="11960306" y="2111354"/>
            <a:ext cx="381000" cy="381000"/>
          </a:xfrm>
          <a:prstGeom prst="ellipse">
            <a:avLst/>
          </a:prstGeom>
          <a:gradFill>
            <a:gsLst>
              <a:gs pos="5000">
                <a:schemeClr val="accent5">
                  <a:alpha val="0"/>
                </a:schemeClr>
              </a:gs>
              <a:gs pos="75000">
                <a:schemeClr val="accent5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6" name="Circle: Hollow 13">
            <a:extLst>
              <a:ext uri="{FF2B5EF4-FFF2-40B4-BE49-F238E27FC236}">
                <a16:creationId xmlns:a16="http://schemas.microsoft.com/office/drawing/2014/main" id="{7D8EC11D-03C6-0346-8233-280E3D6F6D7F}"/>
              </a:ext>
            </a:extLst>
          </p:cNvPr>
          <p:cNvSpPr/>
          <p:nvPr userDrawn="1"/>
        </p:nvSpPr>
        <p:spPr>
          <a:xfrm>
            <a:off x="11490719" y="368594"/>
            <a:ext cx="1488761" cy="1488761"/>
          </a:xfrm>
          <a:prstGeom prst="donut">
            <a:avLst>
              <a:gd name="adj" fmla="val 174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E9B31C4-DBB2-1846-99F5-139B6FC5F3A5}"/>
              </a:ext>
            </a:extLst>
          </p:cNvPr>
          <p:cNvSpPr/>
          <p:nvPr userDrawn="1"/>
        </p:nvSpPr>
        <p:spPr>
          <a:xfrm rot="1516703">
            <a:off x="4788006" y="-1798514"/>
            <a:ext cx="3705200" cy="3705200"/>
          </a:xfrm>
          <a:prstGeom prst="ellipse">
            <a:avLst/>
          </a:prstGeom>
          <a:gradFill flip="none" rotWithShape="1">
            <a:gsLst>
              <a:gs pos="54000">
                <a:schemeClr val="accent5"/>
              </a:gs>
              <a:gs pos="0">
                <a:schemeClr val="accent5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F289379-0040-A34C-ADA4-7381CCE57C59}"/>
              </a:ext>
            </a:extLst>
          </p:cNvPr>
          <p:cNvSpPr/>
          <p:nvPr userDrawn="1"/>
        </p:nvSpPr>
        <p:spPr>
          <a:xfrm>
            <a:off x="8129665" y="1402690"/>
            <a:ext cx="174628" cy="17462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29" name="Rectangle: Rounded Corners 16">
            <a:extLst>
              <a:ext uri="{FF2B5EF4-FFF2-40B4-BE49-F238E27FC236}">
                <a16:creationId xmlns:a16="http://schemas.microsoft.com/office/drawing/2014/main" id="{03C9CA8B-6E36-AD45-A80F-7FE70AC303C7}"/>
              </a:ext>
            </a:extLst>
          </p:cNvPr>
          <p:cNvSpPr/>
          <p:nvPr userDrawn="1"/>
        </p:nvSpPr>
        <p:spPr>
          <a:xfrm rot="3600000">
            <a:off x="10857854" y="5623414"/>
            <a:ext cx="198783" cy="907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C0FF598F-EC17-7B47-A37F-4BF4A5DFC5F9}"/>
              </a:ext>
            </a:extLst>
          </p:cNvPr>
          <p:cNvSpPr/>
          <p:nvPr userDrawn="1"/>
        </p:nvSpPr>
        <p:spPr>
          <a:xfrm>
            <a:off x="11033202" y="5569878"/>
            <a:ext cx="140340" cy="14034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1" name="Rectangle: Rounded Corners 18">
            <a:extLst>
              <a:ext uri="{FF2B5EF4-FFF2-40B4-BE49-F238E27FC236}">
                <a16:creationId xmlns:a16="http://schemas.microsoft.com/office/drawing/2014/main" id="{61F19B17-5289-3B47-B2D4-8CAB6821D38A}"/>
              </a:ext>
            </a:extLst>
          </p:cNvPr>
          <p:cNvSpPr/>
          <p:nvPr userDrawn="1"/>
        </p:nvSpPr>
        <p:spPr>
          <a:xfrm rot="3600000">
            <a:off x="9124681" y="4768943"/>
            <a:ext cx="697340" cy="3184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6000">
                <a:schemeClr val="accent6"/>
              </a:gs>
              <a:gs pos="82000">
                <a:schemeClr val="accent6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2" name="Rectangle: Rounded Corners 21">
            <a:extLst>
              <a:ext uri="{FF2B5EF4-FFF2-40B4-BE49-F238E27FC236}">
                <a16:creationId xmlns:a16="http://schemas.microsoft.com/office/drawing/2014/main" id="{8DD9C027-A354-AB43-A407-8F01807EF324}"/>
              </a:ext>
            </a:extLst>
          </p:cNvPr>
          <p:cNvSpPr/>
          <p:nvPr userDrawn="1"/>
        </p:nvSpPr>
        <p:spPr>
          <a:xfrm rot="3600000">
            <a:off x="7430897" y="4258754"/>
            <a:ext cx="1417200" cy="418553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19000">
                <a:schemeClr val="accent5">
                  <a:alpha val="50000"/>
                </a:schemeClr>
              </a:gs>
              <a:gs pos="54000">
                <a:schemeClr val="accent5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3" name="Rectangle: Rounded Corners 19">
            <a:extLst>
              <a:ext uri="{FF2B5EF4-FFF2-40B4-BE49-F238E27FC236}">
                <a16:creationId xmlns:a16="http://schemas.microsoft.com/office/drawing/2014/main" id="{1C786ED2-3956-1B45-B905-15E189527706}"/>
              </a:ext>
            </a:extLst>
          </p:cNvPr>
          <p:cNvSpPr/>
          <p:nvPr userDrawn="1"/>
        </p:nvSpPr>
        <p:spPr>
          <a:xfrm rot="3600000">
            <a:off x="6709027" y="3784173"/>
            <a:ext cx="697340" cy="3184299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4"/>
              </a:gs>
              <a:gs pos="64000">
                <a:srgbClr val="500091">
                  <a:alpha val="30000"/>
                </a:srgbClr>
              </a:gs>
              <a:gs pos="72000">
                <a:srgbClr val="500091">
                  <a:alpha val="16000"/>
                </a:srgbClr>
              </a:gs>
              <a:gs pos="90000">
                <a:schemeClr val="accent4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4" name="Rectangle: Rounded Corners 23">
            <a:extLst>
              <a:ext uri="{FF2B5EF4-FFF2-40B4-BE49-F238E27FC236}">
                <a16:creationId xmlns:a16="http://schemas.microsoft.com/office/drawing/2014/main" id="{98D15254-FEA1-EC4B-A097-F08B993C276E}"/>
              </a:ext>
            </a:extLst>
          </p:cNvPr>
          <p:cNvSpPr/>
          <p:nvPr userDrawn="1"/>
        </p:nvSpPr>
        <p:spPr>
          <a:xfrm rot="3600000">
            <a:off x="6539795" y="2376754"/>
            <a:ext cx="313116" cy="1320287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5">
                  <a:alpha val="86000"/>
                </a:schemeClr>
              </a:gs>
              <a:gs pos="92000">
                <a:schemeClr val="accent5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9B78F1DC-7152-CB4D-B925-F62843B54DAC}"/>
              </a:ext>
            </a:extLst>
          </p:cNvPr>
          <p:cNvSpPr/>
          <p:nvPr userDrawn="1"/>
        </p:nvSpPr>
        <p:spPr>
          <a:xfrm>
            <a:off x="6017763" y="1010325"/>
            <a:ext cx="1149350" cy="1149350"/>
          </a:xfrm>
          <a:prstGeom prst="ellipse">
            <a:avLst/>
          </a:prstGeom>
          <a:gradFill flip="none" rotWithShape="1">
            <a:gsLst>
              <a:gs pos="61000">
                <a:schemeClr val="accent6"/>
              </a:gs>
              <a:gs pos="12000">
                <a:schemeClr val="accent6">
                  <a:alpha val="0"/>
                </a:schemeClr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1" name="Circle: Hollow 13">
            <a:extLst>
              <a:ext uri="{FF2B5EF4-FFF2-40B4-BE49-F238E27FC236}">
                <a16:creationId xmlns:a16="http://schemas.microsoft.com/office/drawing/2014/main" id="{3DF4F1DB-441A-7B47-9262-2321BD5FBE5F}"/>
              </a:ext>
            </a:extLst>
          </p:cNvPr>
          <p:cNvSpPr/>
          <p:nvPr userDrawn="1"/>
        </p:nvSpPr>
        <p:spPr>
          <a:xfrm>
            <a:off x="-853681" y="2409666"/>
            <a:ext cx="1488761" cy="1488761"/>
          </a:xfrm>
          <a:prstGeom prst="donut">
            <a:avLst>
              <a:gd name="adj" fmla="val 1743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12FA78D9-FBEC-6647-B4AE-FB2C3D63CFC9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37" name="Freeform 1">
              <a:extLst>
                <a:ext uri="{FF2B5EF4-FFF2-40B4-BE49-F238E27FC236}">
                  <a16:creationId xmlns:a16="http://schemas.microsoft.com/office/drawing/2014/main" id="{11730C9D-A94E-BD4B-B2EF-25858D9C33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8" name="Freeform 2">
              <a:extLst>
                <a:ext uri="{FF2B5EF4-FFF2-40B4-BE49-F238E27FC236}">
                  <a16:creationId xmlns:a16="http://schemas.microsoft.com/office/drawing/2014/main" id="{0D6CA37C-4409-CE49-B01C-412025F58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9" name="Freeform 3">
              <a:extLst>
                <a:ext uri="{FF2B5EF4-FFF2-40B4-BE49-F238E27FC236}">
                  <a16:creationId xmlns:a16="http://schemas.microsoft.com/office/drawing/2014/main" id="{256B5891-349E-694A-86BC-0EB0DB8D5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40" name="Freeform 4">
              <a:extLst>
                <a:ext uri="{FF2B5EF4-FFF2-40B4-BE49-F238E27FC236}">
                  <a16:creationId xmlns:a16="http://schemas.microsoft.com/office/drawing/2014/main" id="{706896CB-4F68-DF47-9241-9F89A8304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A56B6727-99D1-D244-9A76-40B6543CB9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0CD6DA37-4216-B841-81F4-5F83B94D2B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44" name="Date Placeholder 3">
            <a:extLst>
              <a:ext uri="{FF2B5EF4-FFF2-40B4-BE49-F238E27FC236}">
                <a16:creationId xmlns:a16="http://schemas.microsoft.com/office/drawing/2014/main" id="{CCC08D39-FA48-5C4B-A180-FEC3AA1B5B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49957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all-out + image v3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0226914-06EB-2A44-88D7-0C434B02259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24177" y="457200"/>
            <a:ext cx="5943600" cy="5943600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D878C1E-6FBA-4C79-A678-CC522AB63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1376363"/>
            <a:ext cx="4038687" cy="3245879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Font typeface="Arial" panose="020B0604020202020204" pitchFamily="34" charset="0"/>
              <a:buNone/>
              <a:defRPr lang="en-GB" sz="540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1954511D-8D7B-47B9-BEAF-9346F271E0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444440"/>
            <a:ext cx="4038687" cy="931923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sz="2800" smtClean="0">
                <a:solidFill>
                  <a:schemeClr val="accent2"/>
                </a:solidFill>
              </a:defRPr>
            </a:lvl1pPr>
          </a:lstStyle>
          <a:p>
            <a:pPr marL="228600" lvl="0" indent="-228600">
              <a:spcAft>
                <a:spcPts val="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18" name="Freeform 128">
            <a:extLst>
              <a:ext uri="{FF2B5EF4-FFF2-40B4-BE49-F238E27FC236}">
                <a16:creationId xmlns:a16="http://schemas.microsoft.com/office/drawing/2014/main" id="{CE295A9A-F92C-4761-AAD6-4B1B875F0F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00115" y="3395569"/>
            <a:ext cx="1091885" cy="1863730"/>
          </a:xfrm>
          <a:custGeom>
            <a:avLst/>
            <a:gdLst>
              <a:gd name="T0" fmla="*/ 139 w 257"/>
              <a:gd name="T1" fmla="*/ 31 h 438"/>
              <a:gd name="T2" fmla="*/ 59 w 257"/>
              <a:gd name="T3" fmla="*/ 326 h 438"/>
              <a:gd name="T4" fmla="*/ 256 w 257"/>
              <a:gd name="T5" fmla="*/ 433 h 438"/>
              <a:gd name="T6" fmla="*/ 256 w 257"/>
              <a:gd name="T7" fmla="*/ 2 h 438"/>
              <a:gd name="T8" fmla="*/ 139 w 257"/>
              <a:gd name="T9" fmla="*/ 3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7" h="438">
                <a:moveTo>
                  <a:pt x="139" y="31"/>
                </a:moveTo>
                <a:cubicBezTo>
                  <a:pt x="35" y="90"/>
                  <a:pt x="0" y="222"/>
                  <a:pt x="59" y="326"/>
                </a:cubicBezTo>
                <a:cubicBezTo>
                  <a:pt x="101" y="398"/>
                  <a:pt x="178" y="437"/>
                  <a:pt x="256" y="433"/>
                </a:cubicBezTo>
                <a:lnTo>
                  <a:pt x="256" y="2"/>
                </a:lnTo>
                <a:cubicBezTo>
                  <a:pt x="217" y="0"/>
                  <a:pt x="176" y="9"/>
                  <a:pt x="139" y="31"/>
                </a:cubicBezTo>
              </a:path>
            </a:pathLst>
          </a:custGeom>
          <a:solidFill>
            <a:schemeClr val="accent1">
              <a:alpha val="7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9" name="Freeform 129">
            <a:extLst>
              <a:ext uri="{FF2B5EF4-FFF2-40B4-BE49-F238E27FC236}">
                <a16:creationId xmlns:a16="http://schemas.microsoft.com/office/drawing/2014/main" id="{F2C31331-5F0B-42EC-8EB9-C13D6A05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92916" y="0"/>
            <a:ext cx="2070817" cy="1562532"/>
          </a:xfrm>
          <a:custGeom>
            <a:avLst/>
            <a:gdLst>
              <a:gd name="T0" fmla="*/ 50 w 484"/>
              <a:gd name="T1" fmla="*/ 259 h 368"/>
              <a:gd name="T2" fmla="*/ 237 w 484"/>
              <a:gd name="T3" fmla="*/ 367 h 368"/>
              <a:gd name="T4" fmla="*/ 345 w 484"/>
              <a:gd name="T5" fmla="*/ 338 h 368"/>
              <a:gd name="T6" fmla="*/ 424 w 484"/>
              <a:gd name="T7" fmla="*/ 43 h 368"/>
              <a:gd name="T8" fmla="*/ 391 w 484"/>
              <a:gd name="T9" fmla="*/ 0 h 368"/>
              <a:gd name="T10" fmla="*/ 83 w 484"/>
              <a:gd name="T11" fmla="*/ 0 h 368"/>
              <a:gd name="T12" fmla="*/ 50 w 484"/>
              <a:gd name="T13" fmla="*/ 259 h 368"/>
              <a:gd name="T14" fmla="*/ 91 w 484"/>
              <a:gd name="T15" fmla="*/ 112 h 368"/>
              <a:gd name="T16" fmla="*/ 161 w 484"/>
              <a:gd name="T17" fmla="*/ 21 h 368"/>
              <a:gd name="T18" fmla="*/ 237 w 484"/>
              <a:gd name="T19" fmla="*/ 1 h 368"/>
              <a:gd name="T20" fmla="*/ 237 w 484"/>
              <a:gd name="T21" fmla="*/ 1 h 368"/>
              <a:gd name="T22" fmla="*/ 367 w 484"/>
              <a:gd name="T23" fmla="*/ 76 h 368"/>
              <a:gd name="T24" fmla="*/ 382 w 484"/>
              <a:gd name="T25" fmla="*/ 190 h 368"/>
              <a:gd name="T26" fmla="*/ 312 w 484"/>
              <a:gd name="T27" fmla="*/ 282 h 368"/>
              <a:gd name="T28" fmla="*/ 237 w 484"/>
              <a:gd name="T29" fmla="*/ 302 h 368"/>
              <a:gd name="T30" fmla="*/ 106 w 484"/>
              <a:gd name="T31" fmla="*/ 227 h 368"/>
              <a:gd name="T32" fmla="*/ 91 w 484"/>
              <a:gd name="T33" fmla="*/ 112 h 3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84" h="368">
                <a:moveTo>
                  <a:pt x="50" y="259"/>
                </a:moveTo>
                <a:cubicBezTo>
                  <a:pt x="90" y="329"/>
                  <a:pt x="162" y="367"/>
                  <a:pt x="237" y="367"/>
                </a:cubicBezTo>
                <a:cubicBezTo>
                  <a:pt x="274" y="367"/>
                  <a:pt x="311" y="358"/>
                  <a:pt x="345" y="338"/>
                </a:cubicBezTo>
                <a:cubicBezTo>
                  <a:pt x="448" y="279"/>
                  <a:pt x="483" y="147"/>
                  <a:pt x="424" y="43"/>
                </a:cubicBezTo>
                <a:cubicBezTo>
                  <a:pt x="414" y="27"/>
                  <a:pt x="403" y="13"/>
                  <a:pt x="391" y="0"/>
                </a:cubicBezTo>
                <a:lnTo>
                  <a:pt x="83" y="0"/>
                </a:lnTo>
                <a:cubicBezTo>
                  <a:pt x="16" y="67"/>
                  <a:pt x="0" y="173"/>
                  <a:pt x="50" y="259"/>
                </a:cubicBezTo>
                <a:close/>
                <a:moveTo>
                  <a:pt x="91" y="112"/>
                </a:moveTo>
                <a:cubicBezTo>
                  <a:pt x="102" y="73"/>
                  <a:pt x="127" y="41"/>
                  <a:pt x="161" y="21"/>
                </a:cubicBezTo>
                <a:cubicBezTo>
                  <a:pt x="184" y="8"/>
                  <a:pt x="210" y="1"/>
                  <a:pt x="237" y="1"/>
                </a:cubicBezTo>
                <a:lnTo>
                  <a:pt x="237" y="1"/>
                </a:lnTo>
                <a:cubicBezTo>
                  <a:pt x="290" y="1"/>
                  <a:pt x="340" y="30"/>
                  <a:pt x="367" y="76"/>
                </a:cubicBezTo>
                <a:cubicBezTo>
                  <a:pt x="387" y="111"/>
                  <a:pt x="393" y="151"/>
                  <a:pt x="382" y="190"/>
                </a:cubicBezTo>
                <a:cubicBezTo>
                  <a:pt x="372" y="229"/>
                  <a:pt x="347" y="262"/>
                  <a:pt x="312" y="282"/>
                </a:cubicBezTo>
                <a:cubicBezTo>
                  <a:pt x="289" y="295"/>
                  <a:pt x="263" y="302"/>
                  <a:pt x="237" y="302"/>
                </a:cubicBezTo>
                <a:cubicBezTo>
                  <a:pt x="183" y="302"/>
                  <a:pt x="133" y="273"/>
                  <a:pt x="106" y="227"/>
                </a:cubicBezTo>
                <a:cubicBezTo>
                  <a:pt x="86" y="192"/>
                  <a:pt x="81" y="151"/>
                  <a:pt x="91" y="11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20" name="Freeform 130">
            <a:extLst>
              <a:ext uri="{FF2B5EF4-FFF2-40B4-BE49-F238E27FC236}">
                <a16:creationId xmlns:a16="http://schemas.microsoft.com/office/drawing/2014/main" id="{4476D3D8-F118-4988-A37C-3E372C844E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3662" y="5220166"/>
            <a:ext cx="3840425" cy="1637834"/>
          </a:xfrm>
          <a:custGeom>
            <a:avLst/>
            <a:gdLst>
              <a:gd name="T0" fmla="*/ 851 w 898"/>
              <a:gd name="T1" fmla="*/ 139 h 382"/>
              <a:gd name="T2" fmla="*/ 556 w 898"/>
              <a:gd name="T3" fmla="*/ 60 h 382"/>
              <a:gd name="T4" fmla="*/ 0 w 898"/>
              <a:gd name="T5" fmla="*/ 381 h 382"/>
              <a:gd name="T6" fmla="*/ 833 w 898"/>
              <a:gd name="T7" fmla="*/ 381 h 382"/>
              <a:gd name="T8" fmla="*/ 851 w 898"/>
              <a:gd name="T9" fmla="*/ 139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98" h="382">
                <a:moveTo>
                  <a:pt x="851" y="139"/>
                </a:moveTo>
                <a:cubicBezTo>
                  <a:pt x="791" y="35"/>
                  <a:pt x="659" y="0"/>
                  <a:pt x="556" y="60"/>
                </a:cubicBezTo>
                <a:lnTo>
                  <a:pt x="0" y="381"/>
                </a:lnTo>
                <a:lnTo>
                  <a:pt x="833" y="381"/>
                </a:lnTo>
                <a:cubicBezTo>
                  <a:pt x="887" y="314"/>
                  <a:pt x="897" y="218"/>
                  <a:pt x="851" y="139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646803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E12119-86A6-4E7D-9337-BB0BB386B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620BF2-5E13-462E-84D6-168F0AE43F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729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786DCD-3892-42DF-9819-C1068BCF4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01401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pPr algn="r"/>
            <a:fld id="{0B868178-02AE-42FC-958D-6B8F13B6017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8197322-D7FA-408C-A0C4-BF46DABA725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774400" y="457200"/>
            <a:ext cx="5943600" cy="5943600"/>
          </a:xfrm>
          <a:prstGeom prst="ellipse">
            <a:avLst/>
          </a:prstGeom>
          <a:solidFill>
            <a:schemeClr val="accent1">
              <a:alpha val="15000"/>
            </a:schemeClr>
          </a:solidFill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094B15-835E-4329-B278-BE639DAB25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28FA973-368D-4BDC-95C3-8DAF4528014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42913" y="1376363"/>
            <a:ext cx="4860999" cy="4789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5800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EE305B53-48B4-42B8-8B37-FBD05A46560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23200" y="-11873"/>
            <a:ext cx="6569090" cy="6869874"/>
          </a:xfrm>
          <a:custGeom>
            <a:avLst/>
            <a:gdLst>
              <a:gd name="connsiteX0" fmla="*/ 6563422 w 6569090"/>
              <a:gd name="connsiteY0" fmla="*/ 0 h 6869874"/>
              <a:gd name="connsiteX1" fmla="*/ 6568813 w 6569090"/>
              <a:gd name="connsiteY1" fmla="*/ 3429020 h 6869874"/>
              <a:gd name="connsiteX2" fmla="*/ 6563424 w 6569090"/>
              <a:gd name="connsiteY2" fmla="*/ 6869874 h 6869874"/>
              <a:gd name="connsiteX3" fmla="*/ 5598102 w 6569090"/>
              <a:gd name="connsiteY3" fmla="*/ 6863247 h 6869874"/>
              <a:gd name="connsiteX4" fmla="*/ 5593432 w 6569090"/>
              <a:gd name="connsiteY4" fmla="*/ 6869873 h 6869874"/>
              <a:gd name="connsiteX5" fmla="*/ 694321 w 6569090"/>
              <a:gd name="connsiteY5" fmla="*/ 6869873 h 6869874"/>
              <a:gd name="connsiteX6" fmla="*/ 536925 w 6569090"/>
              <a:gd name="connsiteY6" fmla="*/ 6646564 h 6869874"/>
              <a:gd name="connsiteX7" fmla="*/ 0 w 6569090"/>
              <a:gd name="connsiteY7" fmla="*/ 4781674 h 6869874"/>
              <a:gd name="connsiteX8" fmla="*/ 1144079 w 6569090"/>
              <a:gd name="connsiteY8" fmla="*/ 2207868 h 6869874"/>
              <a:gd name="connsiteX9" fmla="*/ 1295043 w 6569090"/>
              <a:gd name="connsiteY9" fmla="*/ 2088100 h 6869874"/>
              <a:gd name="connsiteX10" fmla="*/ 1291950 w 6569090"/>
              <a:gd name="connsiteY10" fmla="*/ 2080019 h 6869874"/>
              <a:gd name="connsiteX11" fmla="*/ 4769510 w 6569090"/>
              <a:gd name="connsiteY11" fmla="*/ 7088 h 6869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569090" h="6869874">
                <a:moveTo>
                  <a:pt x="6563422" y="0"/>
                </a:moveTo>
                <a:cubicBezTo>
                  <a:pt x="6565219" y="1143007"/>
                  <a:pt x="6567016" y="2286013"/>
                  <a:pt x="6568813" y="3429020"/>
                </a:cubicBezTo>
                <a:cubicBezTo>
                  <a:pt x="6570796" y="4575972"/>
                  <a:pt x="6561440" y="5722923"/>
                  <a:pt x="6563424" y="6869874"/>
                </a:cubicBezTo>
                <a:lnTo>
                  <a:pt x="5598102" y="6863247"/>
                </a:lnTo>
                <a:lnTo>
                  <a:pt x="5593432" y="6869873"/>
                </a:lnTo>
                <a:lnTo>
                  <a:pt x="694321" y="6869873"/>
                </a:lnTo>
                <a:lnTo>
                  <a:pt x="536925" y="6646564"/>
                </a:lnTo>
                <a:cubicBezTo>
                  <a:pt x="197939" y="6114220"/>
                  <a:pt x="0" y="5472471"/>
                  <a:pt x="0" y="4781674"/>
                </a:cubicBezTo>
                <a:cubicBezTo>
                  <a:pt x="0" y="3745478"/>
                  <a:pt x="445361" y="2819641"/>
                  <a:pt x="1144079" y="2207868"/>
                </a:cubicBezTo>
                <a:lnTo>
                  <a:pt x="1295043" y="2088100"/>
                </a:lnTo>
                <a:lnTo>
                  <a:pt x="1291950" y="2080019"/>
                </a:lnTo>
                <a:cubicBezTo>
                  <a:pt x="2479713" y="1245077"/>
                  <a:pt x="3562699" y="694900"/>
                  <a:pt x="4769510" y="7088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 algn="r">
              <a:buNone/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0F9A7-5884-45A2-8D6E-4AD7C3B3C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0AE94C-C552-4D8A-93EF-1722473282D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4"/>
            <a:ext cx="4861001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9687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3AA513-3096-463D-86CC-9463654915B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980F9A7-5884-45A2-8D6E-4AD7C3B3C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5653087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70AE94C-C552-4D8A-93EF-1722473282D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4"/>
            <a:ext cx="4861001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57CABCD-09F2-E141-9D5B-869ECB1A68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13350" y="0"/>
            <a:ext cx="6908706" cy="685800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B4D1ED3-09B7-8E43-B9E0-217ECB8BF26A}"/>
              </a:ext>
            </a:extLst>
          </p:cNvPr>
          <p:cNvGrpSpPr/>
          <p:nvPr userDrawn="1"/>
        </p:nvGrpSpPr>
        <p:grpSpPr>
          <a:xfrm>
            <a:off x="5281643" y="0"/>
            <a:ext cx="6940409" cy="6857999"/>
            <a:chOff x="5965212" y="5257800"/>
            <a:chExt cx="586401" cy="579438"/>
          </a:xfrm>
        </p:grpSpPr>
        <p:sp>
          <p:nvSpPr>
            <p:cNvPr id="15" name="Freeform 106">
              <a:extLst>
                <a:ext uri="{FF2B5EF4-FFF2-40B4-BE49-F238E27FC236}">
                  <a16:creationId xmlns:a16="http://schemas.microsoft.com/office/drawing/2014/main" id="{EE4CDB85-E992-C34A-A0AD-63D62CE9F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5212" y="5257800"/>
              <a:ext cx="174625" cy="131763"/>
            </a:xfrm>
            <a:custGeom>
              <a:avLst/>
              <a:gdLst>
                <a:gd name="T0" fmla="*/ 50 w 485"/>
                <a:gd name="T1" fmla="*/ 259 h 368"/>
                <a:gd name="T2" fmla="*/ 237 w 485"/>
                <a:gd name="T3" fmla="*/ 367 h 368"/>
                <a:gd name="T4" fmla="*/ 345 w 485"/>
                <a:gd name="T5" fmla="*/ 338 h 368"/>
                <a:gd name="T6" fmla="*/ 424 w 485"/>
                <a:gd name="T7" fmla="*/ 43 h 368"/>
                <a:gd name="T8" fmla="*/ 391 w 485"/>
                <a:gd name="T9" fmla="*/ 0 h 368"/>
                <a:gd name="T10" fmla="*/ 83 w 485"/>
                <a:gd name="T11" fmla="*/ 0 h 368"/>
                <a:gd name="T12" fmla="*/ 50 w 485"/>
                <a:gd name="T13" fmla="*/ 259 h 368"/>
                <a:gd name="T14" fmla="*/ 92 w 485"/>
                <a:gd name="T15" fmla="*/ 112 h 368"/>
                <a:gd name="T16" fmla="*/ 162 w 485"/>
                <a:gd name="T17" fmla="*/ 21 h 368"/>
                <a:gd name="T18" fmla="*/ 237 w 485"/>
                <a:gd name="T19" fmla="*/ 1 h 368"/>
                <a:gd name="T20" fmla="*/ 237 w 485"/>
                <a:gd name="T21" fmla="*/ 1 h 368"/>
                <a:gd name="T22" fmla="*/ 368 w 485"/>
                <a:gd name="T23" fmla="*/ 76 h 368"/>
                <a:gd name="T24" fmla="*/ 312 w 485"/>
                <a:gd name="T25" fmla="*/ 282 h 368"/>
                <a:gd name="T26" fmla="*/ 237 w 485"/>
                <a:gd name="T27" fmla="*/ 302 h 368"/>
                <a:gd name="T28" fmla="*/ 107 w 485"/>
                <a:gd name="T29" fmla="*/ 227 h 368"/>
                <a:gd name="T30" fmla="*/ 92 w 485"/>
                <a:gd name="T31" fmla="*/ 112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85" h="368">
                  <a:moveTo>
                    <a:pt x="50" y="259"/>
                  </a:moveTo>
                  <a:cubicBezTo>
                    <a:pt x="90" y="329"/>
                    <a:pt x="163" y="367"/>
                    <a:pt x="237" y="367"/>
                  </a:cubicBezTo>
                  <a:cubicBezTo>
                    <a:pt x="274" y="367"/>
                    <a:pt x="311" y="358"/>
                    <a:pt x="345" y="338"/>
                  </a:cubicBezTo>
                  <a:cubicBezTo>
                    <a:pt x="448" y="279"/>
                    <a:pt x="484" y="147"/>
                    <a:pt x="424" y="43"/>
                  </a:cubicBezTo>
                  <a:cubicBezTo>
                    <a:pt x="415" y="27"/>
                    <a:pt x="404" y="13"/>
                    <a:pt x="391" y="0"/>
                  </a:cubicBezTo>
                  <a:lnTo>
                    <a:pt x="83" y="0"/>
                  </a:lnTo>
                  <a:cubicBezTo>
                    <a:pt x="17" y="67"/>
                    <a:pt x="0" y="173"/>
                    <a:pt x="50" y="259"/>
                  </a:cubicBezTo>
                  <a:close/>
                  <a:moveTo>
                    <a:pt x="92" y="112"/>
                  </a:moveTo>
                  <a:cubicBezTo>
                    <a:pt x="102" y="74"/>
                    <a:pt x="127" y="41"/>
                    <a:pt x="162" y="21"/>
                  </a:cubicBezTo>
                  <a:cubicBezTo>
                    <a:pt x="185" y="8"/>
                    <a:pt x="211" y="1"/>
                    <a:pt x="237" y="1"/>
                  </a:cubicBezTo>
                  <a:lnTo>
                    <a:pt x="237" y="1"/>
                  </a:lnTo>
                  <a:cubicBezTo>
                    <a:pt x="291" y="1"/>
                    <a:pt x="341" y="30"/>
                    <a:pt x="368" y="76"/>
                  </a:cubicBezTo>
                  <a:cubicBezTo>
                    <a:pt x="409" y="148"/>
                    <a:pt x="384" y="240"/>
                    <a:pt x="312" y="282"/>
                  </a:cubicBezTo>
                  <a:cubicBezTo>
                    <a:pt x="290" y="295"/>
                    <a:pt x="264" y="302"/>
                    <a:pt x="237" y="302"/>
                  </a:cubicBezTo>
                  <a:cubicBezTo>
                    <a:pt x="184" y="302"/>
                    <a:pt x="134" y="273"/>
                    <a:pt x="107" y="227"/>
                  </a:cubicBezTo>
                  <a:cubicBezTo>
                    <a:pt x="87" y="192"/>
                    <a:pt x="81" y="151"/>
                    <a:pt x="92" y="11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16" name="Freeform 107">
              <a:extLst>
                <a:ext uri="{FF2B5EF4-FFF2-40B4-BE49-F238E27FC236}">
                  <a16:creationId xmlns:a16="http://schemas.microsoft.com/office/drawing/2014/main" id="{96DAB01D-C4E4-6341-BB02-C4AEA1870D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2975" y="5699125"/>
              <a:ext cx="323850" cy="138113"/>
            </a:xfrm>
            <a:custGeom>
              <a:avLst/>
              <a:gdLst>
                <a:gd name="T0" fmla="*/ 852 w 898"/>
                <a:gd name="T1" fmla="*/ 139 h 382"/>
                <a:gd name="T2" fmla="*/ 557 w 898"/>
                <a:gd name="T3" fmla="*/ 60 h 382"/>
                <a:gd name="T4" fmla="*/ 0 w 898"/>
                <a:gd name="T5" fmla="*/ 381 h 382"/>
                <a:gd name="T6" fmla="*/ 834 w 898"/>
                <a:gd name="T7" fmla="*/ 381 h 382"/>
                <a:gd name="T8" fmla="*/ 852 w 898"/>
                <a:gd name="T9" fmla="*/ 139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8" h="382">
                  <a:moveTo>
                    <a:pt x="852" y="139"/>
                  </a:moveTo>
                  <a:cubicBezTo>
                    <a:pt x="792" y="35"/>
                    <a:pt x="660" y="0"/>
                    <a:pt x="557" y="60"/>
                  </a:cubicBezTo>
                  <a:lnTo>
                    <a:pt x="0" y="381"/>
                  </a:lnTo>
                  <a:lnTo>
                    <a:pt x="834" y="381"/>
                  </a:lnTo>
                  <a:cubicBezTo>
                    <a:pt x="887" y="314"/>
                    <a:pt x="897" y="218"/>
                    <a:pt x="852" y="139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17" name="Freeform 108">
              <a:extLst>
                <a:ext uri="{FF2B5EF4-FFF2-40B4-BE49-F238E27FC236}">
                  <a16:creationId xmlns:a16="http://schemas.microsoft.com/office/drawing/2014/main" id="{2FADF8AF-987E-9449-9532-3604C99C8C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7950" y="5545138"/>
              <a:ext cx="93663" cy="157162"/>
            </a:xfrm>
            <a:custGeom>
              <a:avLst/>
              <a:gdLst>
                <a:gd name="T0" fmla="*/ 139 w 258"/>
                <a:gd name="T1" fmla="*/ 31 h 438"/>
                <a:gd name="T2" fmla="*/ 60 w 258"/>
                <a:gd name="T3" fmla="*/ 326 h 438"/>
                <a:gd name="T4" fmla="*/ 257 w 258"/>
                <a:gd name="T5" fmla="*/ 433 h 438"/>
                <a:gd name="T6" fmla="*/ 257 w 258"/>
                <a:gd name="T7" fmla="*/ 2 h 438"/>
                <a:gd name="T8" fmla="*/ 139 w 258"/>
                <a:gd name="T9" fmla="*/ 31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8" h="438">
                  <a:moveTo>
                    <a:pt x="139" y="31"/>
                  </a:moveTo>
                  <a:cubicBezTo>
                    <a:pt x="36" y="90"/>
                    <a:pt x="0" y="222"/>
                    <a:pt x="60" y="326"/>
                  </a:cubicBezTo>
                  <a:cubicBezTo>
                    <a:pt x="102" y="398"/>
                    <a:pt x="179" y="437"/>
                    <a:pt x="257" y="433"/>
                  </a:cubicBezTo>
                  <a:lnTo>
                    <a:pt x="257" y="2"/>
                  </a:lnTo>
                  <a:cubicBezTo>
                    <a:pt x="217" y="0"/>
                    <a:pt x="176" y="9"/>
                    <a:pt x="139" y="31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2946754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86E82E-D212-4DFA-81D5-25C8D8B01B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3192" y="7532007"/>
            <a:ext cx="28448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B7A701-B70B-48A4-9EFB-4F00A3212127}" type="datetime3">
              <a:rPr lang="en-US" smtClean="0"/>
              <a:pPr/>
              <a:t>1 July 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F3B690-CE24-4E66-9D2D-84973CAEC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228E37-D3E2-49C4-BE7D-4067EBD12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404A514-DC81-4DC1-99F2-15989271C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8000" y="3240000"/>
            <a:ext cx="11239500" cy="457200"/>
          </a:xfrm>
          <a:prstGeom prst="rect">
            <a:avLst/>
          </a:prstGeom>
        </p:spPr>
      </p:pic>
      <p:sp>
        <p:nvSpPr>
          <p:cNvPr id="11" name="Media Placeholder 10">
            <a:extLst>
              <a:ext uri="{FF2B5EF4-FFF2-40B4-BE49-F238E27FC236}">
                <a16:creationId xmlns:a16="http://schemas.microsoft.com/office/drawing/2014/main" id="{0558167F-F2A6-43D9-8382-C17BCA5734D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216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2" name="Media Placeholder 10">
            <a:extLst>
              <a:ext uri="{FF2B5EF4-FFF2-40B4-BE49-F238E27FC236}">
                <a16:creationId xmlns:a16="http://schemas.microsoft.com/office/drawing/2014/main" id="{8DFD0D35-F6E6-451D-977E-02EA680267DC}"/>
              </a:ext>
            </a:extLst>
          </p:cNvPr>
          <p:cNvSpPr>
            <a:spLocks noGrp="1"/>
          </p:cNvSpPr>
          <p:nvPr>
            <p:ph type="media" sz="quarter" idx="14" hasCustomPrompt="1"/>
          </p:nvPr>
        </p:nvSpPr>
        <p:spPr>
          <a:xfrm>
            <a:off x="450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3" name="Media Placeholder 10">
            <a:extLst>
              <a:ext uri="{FF2B5EF4-FFF2-40B4-BE49-F238E27FC236}">
                <a16:creationId xmlns:a16="http://schemas.microsoft.com/office/drawing/2014/main" id="{38DBCF0C-1CF1-49E4-B7C6-F6A7959AFA1C}"/>
              </a:ext>
            </a:extLst>
          </p:cNvPr>
          <p:cNvSpPr>
            <a:spLocks noGrp="1"/>
          </p:cNvSpPr>
          <p:nvPr>
            <p:ph type="media" sz="quarter" idx="15" hasCustomPrompt="1"/>
          </p:nvPr>
        </p:nvSpPr>
        <p:spPr>
          <a:xfrm>
            <a:off x="684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4" name="Media Placeholder 10">
            <a:extLst>
              <a:ext uri="{FF2B5EF4-FFF2-40B4-BE49-F238E27FC236}">
                <a16:creationId xmlns:a16="http://schemas.microsoft.com/office/drawing/2014/main" id="{F3939553-606E-4A32-9D09-7D96F632A714}"/>
              </a:ext>
            </a:extLst>
          </p:cNvPr>
          <p:cNvSpPr>
            <a:spLocks noGrp="1"/>
          </p:cNvSpPr>
          <p:nvPr>
            <p:ph type="media" sz="quarter" idx="16" hasCustomPrompt="1"/>
          </p:nvPr>
        </p:nvSpPr>
        <p:spPr>
          <a:xfrm>
            <a:off x="9180000" y="14040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5" name="Media Placeholder 10">
            <a:extLst>
              <a:ext uri="{FF2B5EF4-FFF2-40B4-BE49-F238E27FC236}">
                <a16:creationId xmlns:a16="http://schemas.microsoft.com/office/drawing/2014/main" id="{7B1FBA84-04DD-4B5B-851E-AABAACABFC7F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126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6" name="Media Placeholder 10">
            <a:extLst>
              <a:ext uri="{FF2B5EF4-FFF2-40B4-BE49-F238E27FC236}">
                <a16:creationId xmlns:a16="http://schemas.microsoft.com/office/drawing/2014/main" id="{EF861C7E-F1A1-46F9-B1A4-20CD86575858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60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7" name="Media Placeholder 10">
            <a:extLst>
              <a:ext uri="{FF2B5EF4-FFF2-40B4-BE49-F238E27FC236}">
                <a16:creationId xmlns:a16="http://schemas.microsoft.com/office/drawing/2014/main" id="{3FA27553-D321-4510-B976-1810C206AA6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594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8" name="Media Placeholder 10">
            <a:extLst>
              <a:ext uri="{FF2B5EF4-FFF2-40B4-BE49-F238E27FC236}">
                <a16:creationId xmlns:a16="http://schemas.microsoft.com/office/drawing/2014/main" id="{1E551277-AEE7-4026-9457-AF6AB7A8B843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>
          <a:xfrm>
            <a:off x="8280000" y="3697200"/>
            <a:ext cx="7200" cy="1836000"/>
          </a:xfrm>
          <a:solidFill>
            <a:schemeClr val="tx2"/>
          </a:solid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D7E56A9-D978-40C4-917E-FE856DC0AF0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37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14C4FBED-DAAD-4027-BD3C-4A0157316A5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1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9348C78B-A872-41D3-A328-54904EEB6E0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05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DDFA9D6F-33E6-47AA-BE2B-1A82C05DA10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396000" y="2160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1C152D9-93F9-48CB-9EF7-12583D1E14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47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3E85C4AE-7B9F-464F-91D4-15F242F165B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81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3CD2E452-65FD-400D-88BD-E0E5F31C47A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15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B0096270-5BD8-4EC6-925F-2EAFF51F667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496000" y="4824000"/>
            <a:ext cx="1800000" cy="720000"/>
          </a:xfrm>
        </p:spPr>
        <p:txBody>
          <a:bodyPr/>
          <a:lstStyle>
            <a:lvl1pPr>
              <a:lnSpc>
                <a:spcPts val="1230"/>
              </a:lnSpc>
              <a:defRPr sz="1060">
                <a:solidFill>
                  <a:schemeClr val="tx2"/>
                </a:solidFill>
              </a:defRPr>
            </a:lvl1pPr>
            <a:lvl2pPr marL="108000" indent="-108000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Char char="•"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2853A37E-48F6-604A-B3E9-1CA64CCA7F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11306175" cy="935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60221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n circ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569E6-90FA-4CC2-8D14-9F7CF2E0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D50494-86A7-4937-97D4-37C2408F52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3192" y="7532007"/>
            <a:ext cx="28448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B7A701-B70B-48A4-9EFB-4F00A3212127}" type="datetime3">
              <a:rPr lang="en-US" smtClean="0"/>
              <a:pPr/>
              <a:t>1 July 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A535C-B684-4A5A-A436-989BCF21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80D53-ACFA-4215-8119-91E08270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05F560-0912-4033-93C3-F7C73BE411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404000" y="1044000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CDB310-1C7B-49D2-A591-201A8C5DAC10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>
            <a:off x="4746600" y="1044000"/>
            <a:ext cx="2700000" cy="2700000"/>
          </a:xfrm>
          <a:prstGeom prst="ellipse">
            <a:avLst/>
          </a:prstGeom>
          <a:solidFill>
            <a:schemeClr val="accent4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EA1E10F-8C41-4F78-A800-FA323D20EB75}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>
          <a:xfrm>
            <a:off x="8089200" y="1044000"/>
            <a:ext cx="2700000" cy="2700000"/>
          </a:xfrm>
          <a:prstGeom prst="ellipse">
            <a:avLst/>
          </a:prstGeom>
          <a:solidFill>
            <a:schemeClr val="accent5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3B985E0-59D5-477E-A3D4-71BD2C33554A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3075300" y="3600000"/>
            <a:ext cx="2700000" cy="2700000"/>
          </a:xfrm>
          <a:prstGeom prst="ellipse">
            <a:avLst/>
          </a:prstGeom>
          <a:solidFill>
            <a:schemeClr val="accent3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3FF9E45-0FEC-4082-894A-E0B17AE72BC5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6417900" y="3600000"/>
            <a:ext cx="2700000" cy="2700000"/>
          </a:xfrm>
          <a:prstGeom prst="ellipse">
            <a:avLst/>
          </a:prstGeom>
          <a:solidFill>
            <a:schemeClr val="accent6"/>
          </a:solidFill>
        </p:spPr>
        <p:txBody>
          <a:bodyPr bIns="72000" anchor="ctr" anchorCtr="0"/>
          <a:lstStyle>
            <a:lvl1pPr marL="0" indent="0" algn="ctr">
              <a:lnSpc>
                <a:spcPts val="1590"/>
              </a:lnSpc>
              <a:buNone/>
              <a:defRPr sz="141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1787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569E6-90FA-4CC2-8D14-9F7CF2E09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D50494-86A7-4937-97D4-37C2408F524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3192" y="7532007"/>
            <a:ext cx="28448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B7A701-B70B-48A4-9EFB-4F00A3212127}" type="datetime3">
              <a:rPr lang="en-US" smtClean="0"/>
              <a:pPr/>
              <a:t>1 July 2024</a:t>
            </a:fld>
            <a:endParaRPr lang="en-GB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3A535C-B684-4A5A-A436-989BCF213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1600" y="6400800"/>
            <a:ext cx="54000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800" kern="1200" noProof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70"/>
              </a:lnSpc>
            </a:pPr>
            <a:r>
              <a:rPr lang="en-GB"/>
              <a:t>© Colt Technology Services  |  Presentation title her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F80D53-ACFA-4215-8119-91E082705F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C05F560-0912-4033-93C3-F7C73BE411B9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468000" y="1800000"/>
            <a:ext cx="1944000" cy="1944000"/>
          </a:xfrm>
          <a:prstGeom prst="ellipse">
            <a:avLst/>
          </a:prstGeom>
          <a:solidFill>
            <a:schemeClr val="accent1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A5CDB310-1C7B-49D2-A591-201A8C5DA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2796300" y="1800000"/>
            <a:ext cx="1944000" cy="1944000"/>
          </a:xfrm>
          <a:prstGeom prst="ellipse">
            <a:avLst/>
          </a:prstGeom>
          <a:solidFill>
            <a:schemeClr val="accent4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EA1E10F-8C41-4F78-A800-FA323D20EB75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>
          <a:xfrm>
            <a:off x="5124600" y="1800000"/>
            <a:ext cx="1944000" cy="1944000"/>
          </a:xfrm>
          <a:prstGeom prst="ellipse">
            <a:avLst/>
          </a:prstGeom>
          <a:solidFill>
            <a:schemeClr val="accent5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3B985E0-59D5-477E-A3D4-71BD2C33554A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7452900" y="1800000"/>
            <a:ext cx="1944000" cy="1944000"/>
          </a:xfrm>
          <a:prstGeom prst="ellipse">
            <a:avLst/>
          </a:prstGeom>
          <a:solidFill>
            <a:schemeClr val="accent3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13FF9E45-0FEC-4082-894A-E0B17AE72BC5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9781200" y="1800000"/>
            <a:ext cx="1944000" cy="1944000"/>
          </a:xfrm>
          <a:prstGeom prst="ellipse">
            <a:avLst/>
          </a:prstGeom>
          <a:solidFill>
            <a:schemeClr val="accent6"/>
          </a:solidFill>
        </p:spPr>
        <p:txBody>
          <a:bodyPr bIns="72000" anchor="ctr" anchorCtr="0"/>
          <a:lstStyle>
            <a:lvl1pPr marL="0" indent="0" algn="ctr">
              <a:lnSpc>
                <a:spcPts val="6000"/>
              </a:lnSpc>
              <a:spcAft>
                <a:spcPts val="1200"/>
              </a:spcAft>
              <a:buNone/>
              <a:defRPr sz="6000">
                <a:solidFill>
                  <a:schemeClr val="bg1"/>
                </a:solidFill>
              </a:defRPr>
            </a:lvl1pPr>
            <a:lvl2pPr marL="266700" indent="0" algn="ctr">
              <a:lnSpc>
                <a:spcPts val="1410"/>
              </a:lnSpc>
              <a:buNone/>
              <a:defRPr sz="141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0</a:t>
            </a:r>
          </a:p>
          <a:p>
            <a:pPr lvl="1"/>
            <a:r>
              <a:rPr lang="en-US" dirty="0"/>
              <a:t>Level 2</a:t>
            </a:r>
            <a:endParaRPr lang="en-GB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6EFED39-4675-4D68-B9FB-26A294928B9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80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D18E4D3-EB66-4890-87B4-6F6873D652E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63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12516868-3302-4C14-9A1B-F5A67AB96E4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24000" y="4103999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F0210EC0-BE02-4059-8F9D-D336BFB873A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452900" y="4104000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F6571880-7AF6-4A9C-9E91-1B90F93DA66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781200" y="4104000"/>
            <a:ext cx="1944000" cy="2071376"/>
          </a:xfrm>
        </p:spPr>
        <p:txBody>
          <a:bodyPr/>
          <a:lstStyle>
            <a:lvl1pPr marL="0" indent="0" algn="ctr">
              <a:lnSpc>
                <a:spcPts val="1230"/>
              </a:lnSpc>
              <a:buNone/>
              <a:defRPr sz="1060">
                <a:solidFill>
                  <a:schemeClr val="tx2"/>
                </a:solidFill>
              </a:defRPr>
            </a:lvl1pPr>
            <a:lvl2pPr marL="0" indent="0" algn="ctr">
              <a:lnSpc>
                <a:spcPts val="1230"/>
              </a:lnSpc>
              <a:buClr>
                <a:schemeClr val="accent6"/>
              </a:buClr>
              <a:buFont typeface="Arial" panose="020B0604020202020204" pitchFamily="34" charset="0"/>
              <a:buNone/>
              <a:defRPr sz="106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878213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: 2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jdelijke aanduiding voor afbeelding 12">
            <a:extLst>
              <a:ext uri="{FF2B5EF4-FFF2-40B4-BE49-F238E27FC236}">
                <a16:creationId xmlns:a16="http://schemas.microsoft.com/office/drawing/2014/main" id="{27BACDE8-BA7B-4623-B097-3849D34912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4089" y="1453020"/>
            <a:ext cx="2247969" cy="3206662"/>
          </a:xfrm>
          <a:solidFill>
            <a:schemeClr val="bg1">
              <a:lumMod val="95000"/>
            </a:schemeClr>
          </a:solidFill>
        </p:spPr>
        <p:txBody>
          <a:bodyPr tIns="2376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38" name="Tijdelijke aanduiding voor afbeelding 12">
            <a:extLst>
              <a:ext uri="{FF2B5EF4-FFF2-40B4-BE49-F238E27FC236}">
                <a16:creationId xmlns:a16="http://schemas.microsoft.com/office/drawing/2014/main" id="{BBC51933-18F1-48F8-A1DC-F25017E86FD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39811" y="1453020"/>
            <a:ext cx="2247969" cy="3206662"/>
          </a:xfrm>
          <a:solidFill>
            <a:schemeClr val="bg1">
              <a:lumMod val="95000"/>
            </a:schemeClr>
          </a:solidFill>
        </p:spPr>
        <p:txBody>
          <a:bodyPr tIns="2376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0A1F69-6E10-5B4B-AF6A-7CCBA0975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6FA60A-772C-AD4A-A882-4C3CA21ED316}"/>
              </a:ext>
            </a:extLst>
          </p:cNvPr>
          <p:cNvSpPr txBox="1"/>
          <p:nvPr userDrawn="1"/>
        </p:nvSpPr>
        <p:spPr>
          <a:xfrm>
            <a:off x="1143000" y="581787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2290"/>
              </a:lnSpc>
            </a:pPr>
            <a:endParaRPr sz="1940" dirty="0" err="1">
              <a:solidFill>
                <a:schemeClr val="tx2"/>
              </a:solidFill>
            </a:endParaRPr>
          </a:p>
        </p:txBody>
      </p:sp>
      <p:sp>
        <p:nvSpPr>
          <p:cNvPr id="9" name="Tijdelijke aanduiding voor dianummer 5">
            <a:extLst>
              <a:ext uri="{FF2B5EF4-FFF2-40B4-BE49-F238E27FC236}">
                <a16:creationId xmlns:a16="http://schemas.microsoft.com/office/drawing/2014/main" id="{E2D7888C-66A3-0943-8A48-217510487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327276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7D0206B-82CB-E348-8A78-9CA3278CF4AE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10" name="Freeform 1">
              <a:extLst>
                <a:ext uri="{FF2B5EF4-FFF2-40B4-BE49-F238E27FC236}">
                  <a16:creationId xmlns:a16="http://schemas.microsoft.com/office/drawing/2014/main" id="{A91CD9E0-78A1-E844-9E19-A98DCA3FD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11" name="Freeform 2">
              <a:extLst>
                <a:ext uri="{FF2B5EF4-FFF2-40B4-BE49-F238E27FC236}">
                  <a16:creationId xmlns:a16="http://schemas.microsoft.com/office/drawing/2014/main" id="{60FF600C-3CD7-B443-BBBD-AC259128FF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12" name="Freeform 3">
              <a:extLst>
                <a:ext uri="{FF2B5EF4-FFF2-40B4-BE49-F238E27FC236}">
                  <a16:creationId xmlns:a16="http://schemas.microsoft.com/office/drawing/2014/main" id="{B80BA92B-2653-FF4E-ABF3-0C30E823BD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66CC0EB8-DD1B-0940-94D2-A50C3B189C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55157AF-F609-EB4F-AB05-03C460060183}"/>
              </a:ext>
            </a:extLst>
          </p:cNvPr>
          <p:cNvGrpSpPr/>
          <p:nvPr userDrawn="1"/>
        </p:nvGrpSpPr>
        <p:grpSpPr>
          <a:xfrm>
            <a:off x="3431704" y="-675456"/>
            <a:ext cx="13646042" cy="10112770"/>
            <a:chOff x="3824562" y="-176569"/>
            <a:chExt cx="12389850" cy="9181835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C56989F-3F8C-CC4E-B538-7167AC5CF779}"/>
                </a:ext>
              </a:extLst>
            </p:cNvPr>
            <p:cNvGrpSpPr/>
            <p:nvPr userDrawn="1"/>
          </p:nvGrpSpPr>
          <p:grpSpPr>
            <a:xfrm>
              <a:off x="4223792" y="1193801"/>
              <a:ext cx="9607344" cy="6420050"/>
              <a:chOff x="4712139" y="1274117"/>
              <a:chExt cx="9607344" cy="6420050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262634B2-CB62-A048-9824-A4BD14E7653D}"/>
                  </a:ext>
                </a:extLst>
              </p:cNvPr>
              <p:cNvSpPr/>
              <p:nvPr/>
            </p:nvSpPr>
            <p:spPr>
              <a:xfrm>
                <a:off x="7228573" y="1274117"/>
                <a:ext cx="6420050" cy="6420050"/>
              </a:xfrm>
              <a:prstGeom prst="ellipse">
                <a:avLst/>
              </a:prstGeom>
              <a:gradFill>
                <a:gsLst>
                  <a:gs pos="21000">
                    <a:schemeClr val="accent3"/>
                  </a:gs>
                  <a:gs pos="96000">
                    <a:schemeClr val="accent3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5DD65EAF-E52F-3B41-9BB8-4FAF2B61FE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712139" y="1472666"/>
                <a:ext cx="9607344" cy="5414208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F031CA6A-95C7-8D4E-AC27-03EDDB1E1283}"/>
                </a:ext>
              </a:extLst>
            </p:cNvPr>
            <p:cNvGrpSpPr/>
            <p:nvPr userDrawn="1"/>
          </p:nvGrpSpPr>
          <p:grpSpPr>
            <a:xfrm>
              <a:off x="3824562" y="-176569"/>
              <a:ext cx="12389850" cy="8313164"/>
              <a:chOff x="4312909" y="-96253"/>
              <a:chExt cx="12389850" cy="8313164"/>
            </a:xfrm>
          </p:grpSpPr>
          <p:sp>
            <p:nvSpPr>
              <p:cNvPr id="50" name="Rectangle: Rounded Corners 48">
                <a:extLst>
                  <a:ext uri="{FF2B5EF4-FFF2-40B4-BE49-F238E27FC236}">
                    <a16:creationId xmlns:a16="http://schemas.microsoft.com/office/drawing/2014/main" id="{63F2622A-1BC6-8645-8522-A096536BDCEB}"/>
                  </a:ext>
                </a:extLst>
              </p:cNvPr>
              <p:cNvSpPr/>
              <p:nvPr/>
            </p:nvSpPr>
            <p:spPr>
              <a:xfrm rot="3600000">
                <a:off x="11193972" y="324977"/>
                <a:ext cx="1065396" cy="3851430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90000">
                    <a:schemeClr val="accent6">
                      <a:alpha val="0"/>
                    </a:schemeClr>
                  </a:gs>
                  <a:gs pos="63000">
                    <a:schemeClr val="accent6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1" name="Rectangle: Rounded Corners 49">
                <a:extLst>
                  <a:ext uri="{FF2B5EF4-FFF2-40B4-BE49-F238E27FC236}">
                    <a16:creationId xmlns:a16="http://schemas.microsoft.com/office/drawing/2014/main" id="{D527D29B-39E0-4F4D-B6A8-3DF861B7F898}"/>
                  </a:ext>
                </a:extLst>
              </p:cNvPr>
              <p:cNvSpPr/>
              <p:nvPr/>
            </p:nvSpPr>
            <p:spPr>
              <a:xfrm rot="3600000">
                <a:off x="10839739" y="1407468"/>
                <a:ext cx="1375589" cy="4576547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6">
                      <a:alpha val="0"/>
                    </a:schemeClr>
                  </a:gs>
                  <a:gs pos="60000">
                    <a:schemeClr val="accent6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556FD11D-D82E-1645-8914-7380284249B2}"/>
                  </a:ext>
                </a:extLst>
              </p:cNvPr>
              <p:cNvGrpSpPr/>
              <p:nvPr/>
            </p:nvGrpSpPr>
            <p:grpSpPr>
              <a:xfrm>
                <a:off x="4312909" y="-96253"/>
                <a:ext cx="12389850" cy="8313164"/>
                <a:chOff x="4312909" y="-96253"/>
                <a:chExt cx="12389850" cy="8313164"/>
              </a:xfrm>
            </p:grpSpPr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EC50F5C2-B165-8A49-806E-31FA22331448}"/>
                    </a:ext>
                  </a:extLst>
                </p:cNvPr>
                <p:cNvSpPr/>
                <p:nvPr/>
              </p:nvSpPr>
              <p:spPr>
                <a:xfrm>
                  <a:off x="8289748" y="4690786"/>
                  <a:ext cx="3526125" cy="3526125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grpSp>
              <p:nvGrpSpPr>
                <p:cNvPr id="54" name="Group 53">
                  <a:extLst>
                    <a:ext uri="{FF2B5EF4-FFF2-40B4-BE49-F238E27FC236}">
                      <a16:creationId xmlns:a16="http://schemas.microsoft.com/office/drawing/2014/main" id="{64CABB56-B176-C04B-A7D6-1595733C084F}"/>
                    </a:ext>
                  </a:extLst>
                </p:cNvPr>
                <p:cNvGrpSpPr/>
                <p:nvPr/>
              </p:nvGrpSpPr>
              <p:grpSpPr>
                <a:xfrm>
                  <a:off x="4312909" y="-96253"/>
                  <a:ext cx="12389850" cy="6982288"/>
                  <a:chOff x="4312909" y="-96253"/>
                  <a:chExt cx="12389850" cy="6982288"/>
                </a:xfrm>
              </p:grpSpPr>
              <p:sp>
                <p:nvSpPr>
                  <p:cNvPr id="55" name="Oval 54">
                    <a:extLst>
                      <a:ext uri="{FF2B5EF4-FFF2-40B4-BE49-F238E27FC236}">
                        <a16:creationId xmlns:a16="http://schemas.microsoft.com/office/drawing/2014/main" id="{95B7BDD9-DE47-9E42-88CF-7C9230D42EA6}"/>
                      </a:ext>
                    </a:extLst>
                  </p:cNvPr>
                  <p:cNvSpPr/>
                  <p:nvPr/>
                </p:nvSpPr>
                <p:spPr>
                  <a:xfrm rot="20457214">
                    <a:off x="10364320" y="2404428"/>
                    <a:ext cx="3001311" cy="795104"/>
                  </a:xfrm>
                  <a:prstGeom prst="ellipse">
                    <a:avLst/>
                  </a:prstGeom>
                  <a:solidFill>
                    <a:schemeClr val="tx1">
                      <a:alpha val="85000"/>
                    </a:schemeClr>
                  </a:solidFill>
                  <a:ln>
                    <a:noFill/>
                  </a:ln>
                  <a:effectLst>
                    <a:softEdge rad="254000"/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  <p:pic>
                <p:nvPicPr>
                  <p:cNvPr id="56" name="Picture 55">
                    <a:extLst>
                      <a:ext uri="{FF2B5EF4-FFF2-40B4-BE49-F238E27FC236}">
                        <a16:creationId xmlns:a16="http://schemas.microsoft.com/office/drawing/2014/main" id="{A31776D1-CBF2-B64E-A331-07CF197C65A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 cstate="email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/>
                </p:blipFill>
                <p:spPr>
                  <a:xfrm>
                    <a:off x="4312909" y="-96253"/>
                    <a:ext cx="12389850" cy="6982288"/>
                  </a:xfrm>
                  <a:prstGeom prst="rect">
                    <a:avLst/>
                  </a:prstGeom>
                </p:spPr>
              </p:pic>
              <p:sp>
                <p:nvSpPr>
                  <p:cNvPr id="57" name="Rectangle: Rounded Corners 51">
                    <a:extLst>
                      <a:ext uri="{FF2B5EF4-FFF2-40B4-BE49-F238E27FC236}">
                        <a16:creationId xmlns:a16="http://schemas.microsoft.com/office/drawing/2014/main" id="{A05832F1-14C2-284B-BEA8-A16B5A522760}"/>
                      </a:ext>
                    </a:extLst>
                  </p:cNvPr>
                  <p:cNvSpPr/>
                  <p:nvPr/>
                </p:nvSpPr>
                <p:spPr>
                  <a:xfrm rot="3600000">
                    <a:off x="11273012" y="1859908"/>
                    <a:ext cx="1375589" cy="3180010"/>
                  </a:xfrm>
                  <a:prstGeom prst="roundRect">
                    <a:avLst>
                      <a:gd name="adj" fmla="val 50000"/>
                    </a:avLst>
                  </a:prstGeom>
                  <a:gradFill>
                    <a:gsLst>
                      <a:gs pos="86000">
                        <a:schemeClr val="accent6">
                          <a:alpha val="0"/>
                        </a:schemeClr>
                      </a:gs>
                      <a:gs pos="53000">
                        <a:schemeClr val="accent6"/>
                      </a:gs>
                    </a:gsLst>
                    <a:lin ang="5400000" scaled="0"/>
                  </a:gra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/>
                  </a:p>
                </p:txBody>
              </p:sp>
            </p:grpSp>
          </p:grp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8A952D6-F05E-804D-BB6B-499F65FD80DD}"/>
                </a:ext>
              </a:extLst>
            </p:cNvPr>
            <p:cNvGrpSpPr/>
            <p:nvPr userDrawn="1"/>
          </p:nvGrpSpPr>
          <p:grpSpPr>
            <a:xfrm>
              <a:off x="5546693" y="1357430"/>
              <a:ext cx="7709697" cy="7647836"/>
              <a:chOff x="6035040" y="1437746"/>
              <a:chExt cx="7709697" cy="7647836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48B846B1-45A7-BB44-B373-C1D73B9C6080}"/>
                  </a:ext>
                </a:extLst>
              </p:cNvPr>
              <p:cNvSpPr/>
              <p:nvPr/>
            </p:nvSpPr>
            <p:spPr>
              <a:xfrm>
                <a:off x="8479857" y="1437746"/>
                <a:ext cx="211756" cy="21175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984FE23-91E5-734A-A318-22E2B022FBD9}"/>
                  </a:ext>
                </a:extLst>
              </p:cNvPr>
              <p:cNvSpPr/>
              <p:nvPr/>
            </p:nvSpPr>
            <p:spPr>
              <a:xfrm>
                <a:off x="11146056" y="2169266"/>
                <a:ext cx="323678" cy="323678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50856EE4-B322-4A41-AB6F-085C7C87514F}"/>
                  </a:ext>
                </a:extLst>
              </p:cNvPr>
              <p:cNvSpPr/>
              <p:nvPr/>
            </p:nvSpPr>
            <p:spPr>
              <a:xfrm>
                <a:off x="10436060" y="5270763"/>
                <a:ext cx="2433904" cy="2433904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0E704362-F1E7-3E4C-A3E3-AA5C2A6BE626}"/>
                  </a:ext>
                </a:extLst>
              </p:cNvPr>
              <p:cNvSpPr/>
              <p:nvPr/>
            </p:nvSpPr>
            <p:spPr>
              <a:xfrm>
                <a:off x="6035040" y="5855443"/>
                <a:ext cx="3230139" cy="3230139"/>
              </a:xfrm>
              <a:prstGeom prst="ellipse">
                <a:avLst/>
              </a:prstGeom>
              <a:gradFill>
                <a:gsLst>
                  <a:gs pos="44000">
                    <a:schemeClr val="accent1">
                      <a:alpha val="0"/>
                    </a:schemeClr>
                  </a:gs>
                  <a:gs pos="24000">
                    <a:schemeClr val="accent1"/>
                  </a:gs>
                </a:gsLst>
                <a:lin ang="48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424F3BEB-1081-614E-A670-0969450A4AE0}"/>
                  </a:ext>
                </a:extLst>
              </p:cNvPr>
              <p:cNvSpPr/>
              <p:nvPr/>
            </p:nvSpPr>
            <p:spPr>
              <a:xfrm>
                <a:off x="7008530" y="6157868"/>
                <a:ext cx="174590" cy="17459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4" name="Rectangle: Rounded Corners 55">
                <a:extLst>
                  <a:ext uri="{FF2B5EF4-FFF2-40B4-BE49-F238E27FC236}">
                    <a16:creationId xmlns:a16="http://schemas.microsoft.com/office/drawing/2014/main" id="{E1E8F01D-5715-F24B-9755-73983E611628}"/>
                  </a:ext>
                </a:extLst>
              </p:cNvPr>
              <p:cNvSpPr/>
              <p:nvPr/>
            </p:nvSpPr>
            <p:spPr>
              <a:xfrm rot="3600000">
                <a:off x="10872607" y="3002077"/>
                <a:ext cx="1375589" cy="4368671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1">
                      <a:alpha val="0"/>
                    </a:schemeClr>
                  </a:gs>
                  <a:gs pos="53000">
                    <a:schemeClr val="accent1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65" name="Rectangle: Rounded Corners 56">
                <a:extLst>
                  <a:ext uri="{FF2B5EF4-FFF2-40B4-BE49-F238E27FC236}">
                    <a16:creationId xmlns:a16="http://schemas.microsoft.com/office/drawing/2014/main" id="{026F7D5B-3229-6244-8D72-F2A577A62FEB}"/>
                  </a:ext>
                </a:extLst>
              </p:cNvPr>
              <p:cNvSpPr/>
              <p:nvPr/>
            </p:nvSpPr>
            <p:spPr>
              <a:xfrm rot="3600000">
                <a:off x="10290256" y="3611341"/>
                <a:ext cx="937075" cy="5671409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1">
                      <a:alpha val="0"/>
                    </a:schemeClr>
                  </a:gs>
                  <a:gs pos="47000">
                    <a:schemeClr val="accent1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63B490E5-1C64-B848-A5EF-488CE3D481F3}"/>
                  </a:ext>
                </a:extLst>
              </p:cNvPr>
              <p:cNvSpPr/>
              <p:nvPr/>
            </p:nvSpPr>
            <p:spPr>
              <a:xfrm>
                <a:off x="9344491" y="5347594"/>
                <a:ext cx="2940642" cy="2940642"/>
              </a:xfrm>
              <a:prstGeom prst="ellipse">
                <a:avLst/>
              </a:prstGeom>
              <a:solidFill>
                <a:schemeClr val="accent1">
                  <a:alpha val="94000"/>
                </a:schemeClr>
              </a:solidFill>
              <a:ln>
                <a:noFill/>
              </a:ln>
              <a:effectLst>
                <a:softEdge rad="6223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7" name="Rectangle: Rounded Corners 57">
                <a:extLst>
                  <a:ext uri="{FF2B5EF4-FFF2-40B4-BE49-F238E27FC236}">
                    <a16:creationId xmlns:a16="http://schemas.microsoft.com/office/drawing/2014/main" id="{ED3B0C64-0B38-354D-A686-23F0346817FE}"/>
                  </a:ext>
                </a:extLst>
              </p:cNvPr>
              <p:cNvSpPr/>
              <p:nvPr/>
            </p:nvSpPr>
            <p:spPr>
              <a:xfrm rot="3600000">
                <a:off x="11092895" y="3678216"/>
                <a:ext cx="937075" cy="3270305"/>
              </a:xfrm>
              <a:prstGeom prst="roundRect">
                <a:avLst>
                  <a:gd name="adj" fmla="val 50000"/>
                </a:avLst>
              </a:prstGeom>
              <a:gradFill>
                <a:gsLst>
                  <a:gs pos="86000">
                    <a:schemeClr val="accent3">
                      <a:alpha val="0"/>
                    </a:schemeClr>
                  </a:gs>
                  <a:gs pos="47000">
                    <a:schemeClr val="accent3"/>
                  </a:gs>
                </a:gsLst>
                <a:lin ang="54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</p:grpSp>
      <p:sp>
        <p:nvSpPr>
          <p:cNvPr id="74" name="Oval 73">
            <a:extLst>
              <a:ext uri="{FF2B5EF4-FFF2-40B4-BE49-F238E27FC236}">
                <a16:creationId xmlns:a16="http://schemas.microsoft.com/office/drawing/2014/main" id="{44A2DA06-7EC6-0940-9BB2-8B08BB1CC316}"/>
              </a:ext>
            </a:extLst>
          </p:cNvPr>
          <p:cNvSpPr/>
          <p:nvPr userDrawn="1"/>
        </p:nvSpPr>
        <p:spPr>
          <a:xfrm>
            <a:off x="-2020767" y="2129544"/>
            <a:ext cx="2680675" cy="268067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8A04CAAD-3AD5-514F-A339-544501F9C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1D5FAD6E-69EA-D941-8246-C93684A4B8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6" name="Date Placeholder 3">
            <a:extLst>
              <a:ext uri="{FF2B5EF4-FFF2-40B4-BE49-F238E27FC236}">
                <a16:creationId xmlns:a16="http://schemas.microsoft.com/office/drawing/2014/main" id="{903C090C-C70F-F745-878D-8236E0650E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45869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: 4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9" name="Tijdelijke aanduiding voor afbeelding 12">
            <a:extLst>
              <a:ext uri="{FF2B5EF4-FFF2-40B4-BE49-F238E27FC236}">
                <a16:creationId xmlns:a16="http://schemas.microsoft.com/office/drawing/2014/main" id="{27BACDE8-BA7B-4623-B097-3849D34912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77152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5" name="Tijdelijke aanduiding voor afbeelding 12">
            <a:extLst>
              <a:ext uri="{FF2B5EF4-FFF2-40B4-BE49-F238E27FC236}">
                <a16:creationId xmlns:a16="http://schemas.microsoft.com/office/drawing/2014/main" id="{51FE0753-454B-452F-86DC-C965F0ECC7D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599866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6" name="Tijdelijke aanduiding voor afbeelding 12">
            <a:extLst>
              <a:ext uri="{FF2B5EF4-FFF2-40B4-BE49-F238E27FC236}">
                <a16:creationId xmlns:a16="http://schemas.microsoft.com/office/drawing/2014/main" id="{CD5DFF9B-A676-4B7E-A0E4-781836790C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429009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47" name="Tijdelijke aanduiding voor afbeelding 12">
            <a:extLst>
              <a:ext uri="{FF2B5EF4-FFF2-40B4-BE49-F238E27FC236}">
                <a16:creationId xmlns:a16="http://schemas.microsoft.com/office/drawing/2014/main" id="{CC3D2EFE-0CF1-4B85-8D29-ABDBB75146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251316" y="1453020"/>
            <a:ext cx="2276499" cy="2502754"/>
          </a:xfrm>
          <a:solidFill>
            <a:schemeClr val="bg1">
              <a:lumMod val="95000"/>
            </a:schemeClr>
          </a:solidFill>
        </p:spPr>
        <p:txBody>
          <a:bodyPr tIns="1368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image.</a:t>
            </a:r>
            <a:endParaRPr lang="en-GB" noProof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6DFB77B-0749-C848-81BB-9085DBFF5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600" y="457200"/>
            <a:ext cx="7502400" cy="8969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9650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</p:spTree>
    <p:extLst>
      <p:ext uri="{BB962C8B-B14F-4D97-AF65-F5344CB8AC3E}">
        <p14:creationId xmlns:p14="http://schemas.microsoft.com/office/powerpoint/2010/main" val="10890576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Afbeelding 51">
            <a:extLst>
              <a:ext uri="{FF2B5EF4-FFF2-40B4-BE49-F238E27FC236}">
                <a16:creationId xmlns:a16="http://schemas.microsoft.com/office/drawing/2014/main" id="{B9099373-6768-4E01-BF23-39BC400F8F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20780" y="895744"/>
            <a:ext cx="6894286" cy="5720566"/>
          </a:xfrm>
          <a:prstGeom prst="rect">
            <a:avLst/>
          </a:prstGeom>
        </p:spPr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70" name="Tijdelijke aanduiding voor afbeelding 12">
            <a:extLst>
              <a:ext uri="{FF2B5EF4-FFF2-40B4-BE49-F238E27FC236}">
                <a16:creationId xmlns:a16="http://schemas.microsoft.com/office/drawing/2014/main" id="{74672FE6-421D-4BD6-9E7A-A865760561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050680" y="1362808"/>
            <a:ext cx="5987561" cy="3446584"/>
          </a:xfrm>
          <a:prstGeom prst="roundRect">
            <a:avLst>
              <a:gd name="adj" fmla="val 18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tIns="2232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to insert a new image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946887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ep 71">
            <a:extLst>
              <a:ext uri="{FF2B5EF4-FFF2-40B4-BE49-F238E27FC236}">
                <a16:creationId xmlns:a16="http://schemas.microsoft.com/office/drawing/2014/main" id="{E3206D4F-872A-4C8C-A879-9645D24EC58D}"/>
              </a:ext>
            </a:extLst>
          </p:cNvPr>
          <p:cNvGrpSpPr/>
          <p:nvPr userDrawn="1"/>
        </p:nvGrpSpPr>
        <p:grpSpPr>
          <a:xfrm>
            <a:off x="2585551" y="1057272"/>
            <a:ext cx="7020899" cy="4951641"/>
            <a:chOff x="2909296" y="623354"/>
            <a:chExt cx="7636150" cy="5385560"/>
          </a:xfrm>
        </p:grpSpPr>
        <p:pic>
          <p:nvPicPr>
            <p:cNvPr id="73" name="Picture 2" descr="Afbeeldingsresultaat voor IPAD mock up">
              <a:extLst>
                <a:ext uri="{FF2B5EF4-FFF2-40B4-BE49-F238E27FC236}">
                  <a16:creationId xmlns:a16="http://schemas.microsoft.com/office/drawing/2014/main" id="{D5E62AFE-A2DF-4CE1-9DF0-6DF5FE427E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9296" y="623354"/>
              <a:ext cx="7636150" cy="5385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4" name="Afgeronde rechthoek 17">
              <a:extLst>
                <a:ext uri="{FF2B5EF4-FFF2-40B4-BE49-F238E27FC236}">
                  <a16:creationId xmlns:a16="http://schemas.microsoft.com/office/drawing/2014/main" id="{40440F65-87D4-47C7-A3A0-3404536F4809}"/>
                </a:ext>
              </a:extLst>
            </p:cNvPr>
            <p:cNvSpPr/>
            <p:nvPr/>
          </p:nvSpPr>
          <p:spPr>
            <a:xfrm>
              <a:off x="3597866" y="964737"/>
              <a:ext cx="6270034" cy="4708755"/>
            </a:xfrm>
            <a:prstGeom prst="roundRect">
              <a:avLst>
                <a:gd name="adj" fmla="val 897"/>
              </a:avLst>
            </a:prstGeom>
            <a:solidFill>
              <a:srgbClr val="F6F6F6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70" name="Tijdelijke aanduiding voor afbeelding 12">
            <a:extLst>
              <a:ext uri="{FF2B5EF4-FFF2-40B4-BE49-F238E27FC236}">
                <a16:creationId xmlns:a16="http://schemas.microsoft.com/office/drawing/2014/main" id="{74672FE6-421D-4BD6-9E7A-A8657605619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202042" y="1362807"/>
            <a:ext cx="5832366" cy="4371787"/>
          </a:xfrm>
          <a:prstGeom prst="roundRect">
            <a:avLst>
              <a:gd name="adj" fmla="val 18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tIns="2232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</a:t>
            </a:r>
            <a:b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</a:b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to insert a new image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2797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68EAFAF-8E8A-49AA-9EB1-9ACAF9DC90B9}"/>
              </a:ext>
            </a:extLst>
          </p:cNvPr>
          <p:cNvSpPr txBox="1"/>
          <p:nvPr userDrawn="1"/>
        </p:nvSpPr>
        <p:spPr>
          <a:xfrm>
            <a:off x="1343026" y="2285999"/>
            <a:ext cx="7200900" cy="10378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ts val="6630"/>
              </a:lnSpc>
              <a:spcBef>
                <a:spcPct val="0"/>
              </a:spcBef>
              <a:buNone/>
              <a:defRPr sz="663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/>
              <a:t>Thank you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3026" y="3323896"/>
            <a:ext cx="7200900" cy="1090761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1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EDB3570-FCFE-4D37-81AF-ECB153EFD8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600" y="457200"/>
            <a:ext cx="1404000" cy="55289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632D508-3EF1-9A47-B376-A3D28FC8C640}"/>
              </a:ext>
            </a:extLst>
          </p:cNvPr>
          <p:cNvSpPr txBox="1"/>
          <p:nvPr userDrawn="1"/>
        </p:nvSpPr>
        <p:spPr>
          <a:xfrm>
            <a:off x="5200650" y="58293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ts val="2290"/>
              </a:lnSpc>
            </a:pPr>
            <a:endParaRPr sz="1940" dirty="0" err="1">
              <a:solidFill>
                <a:schemeClr val="tx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0DF25AC-AA14-C740-85A0-78503346E043}"/>
              </a:ext>
            </a:extLst>
          </p:cNvPr>
          <p:cNvGrpSpPr/>
          <p:nvPr userDrawn="1"/>
        </p:nvGrpSpPr>
        <p:grpSpPr>
          <a:xfrm>
            <a:off x="0" y="0"/>
            <a:ext cx="12227595" cy="6858001"/>
            <a:chOff x="1260475" y="3576638"/>
            <a:chExt cx="1030288" cy="577850"/>
          </a:xfrm>
        </p:grpSpPr>
        <p:sp>
          <p:nvSpPr>
            <p:cNvPr id="19" name="Freeform 55">
              <a:extLst>
                <a:ext uri="{FF2B5EF4-FFF2-40B4-BE49-F238E27FC236}">
                  <a16:creationId xmlns:a16="http://schemas.microsoft.com/office/drawing/2014/main" id="{F8362EB4-F4F1-7E4A-9408-7CF483ED3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4579" y="3723597"/>
              <a:ext cx="163512" cy="169862"/>
            </a:xfrm>
            <a:custGeom>
              <a:avLst/>
              <a:gdLst>
                <a:gd name="T0" fmla="*/ 355 w 456"/>
                <a:gd name="T1" fmla="*/ 409 h 470"/>
                <a:gd name="T2" fmla="*/ 455 w 456"/>
                <a:gd name="T3" fmla="*/ 279 h 470"/>
                <a:gd name="T4" fmla="*/ 324 w 456"/>
                <a:gd name="T5" fmla="*/ 178 h 470"/>
                <a:gd name="T6" fmla="*/ 303 w 456"/>
                <a:gd name="T7" fmla="*/ 14 h 470"/>
                <a:gd name="T8" fmla="*/ 139 w 456"/>
                <a:gd name="T9" fmla="*/ 36 h 470"/>
                <a:gd name="T10" fmla="*/ 60 w 456"/>
                <a:gd name="T11" fmla="*/ 331 h 470"/>
                <a:gd name="T12" fmla="*/ 355 w 456"/>
                <a:gd name="T13" fmla="*/ 409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470">
                  <a:moveTo>
                    <a:pt x="355" y="409"/>
                  </a:moveTo>
                  <a:cubicBezTo>
                    <a:pt x="406" y="379"/>
                    <a:pt x="441" y="332"/>
                    <a:pt x="455" y="279"/>
                  </a:cubicBezTo>
                  <a:cubicBezTo>
                    <a:pt x="402" y="265"/>
                    <a:pt x="354" y="229"/>
                    <a:pt x="324" y="178"/>
                  </a:cubicBezTo>
                  <a:cubicBezTo>
                    <a:pt x="294" y="126"/>
                    <a:pt x="288" y="68"/>
                    <a:pt x="303" y="14"/>
                  </a:cubicBezTo>
                  <a:cubicBezTo>
                    <a:pt x="249" y="0"/>
                    <a:pt x="190" y="6"/>
                    <a:pt x="139" y="36"/>
                  </a:cubicBezTo>
                  <a:cubicBezTo>
                    <a:pt x="35" y="96"/>
                    <a:pt x="0" y="228"/>
                    <a:pt x="60" y="331"/>
                  </a:cubicBezTo>
                  <a:cubicBezTo>
                    <a:pt x="119" y="433"/>
                    <a:pt x="251" y="469"/>
                    <a:pt x="355" y="409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0" name="Freeform 56">
              <a:extLst>
                <a:ext uri="{FF2B5EF4-FFF2-40B4-BE49-F238E27FC236}">
                  <a16:creationId xmlns:a16="http://schemas.microsoft.com/office/drawing/2014/main" id="{BAB02D1D-5DCE-CF4D-A925-0CCCE6632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9313" y="3741738"/>
              <a:ext cx="38100" cy="61912"/>
            </a:xfrm>
            <a:custGeom>
              <a:avLst/>
              <a:gdLst>
                <a:gd name="T0" fmla="*/ 7 w 107"/>
                <a:gd name="T1" fmla="*/ 0 h 173"/>
                <a:gd name="T2" fmla="*/ 25 w 107"/>
                <a:gd name="T3" fmla="*/ 105 h 173"/>
                <a:gd name="T4" fmla="*/ 106 w 107"/>
                <a:gd name="T5" fmla="*/ 172 h 173"/>
                <a:gd name="T6" fmla="*/ 78 w 107"/>
                <a:gd name="T7" fmla="*/ 74 h 173"/>
                <a:gd name="T8" fmla="*/ 7 w 107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173">
                  <a:moveTo>
                    <a:pt x="7" y="0"/>
                  </a:moveTo>
                  <a:cubicBezTo>
                    <a:pt x="0" y="36"/>
                    <a:pt x="6" y="73"/>
                    <a:pt x="25" y="105"/>
                  </a:cubicBezTo>
                  <a:cubicBezTo>
                    <a:pt x="43" y="136"/>
                    <a:pt x="72" y="160"/>
                    <a:pt x="106" y="172"/>
                  </a:cubicBezTo>
                  <a:cubicBezTo>
                    <a:pt x="105" y="138"/>
                    <a:pt x="95" y="105"/>
                    <a:pt x="78" y="74"/>
                  </a:cubicBezTo>
                  <a:cubicBezTo>
                    <a:pt x="60" y="43"/>
                    <a:pt x="36" y="18"/>
                    <a:pt x="7" y="0"/>
                  </a:cubicBezTo>
                </a:path>
              </a:pathLst>
            </a:custGeom>
            <a:solidFill>
              <a:schemeClr val="accent5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1" name="Freeform 57">
              <a:extLst>
                <a:ext uri="{FF2B5EF4-FFF2-40B4-BE49-F238E27FC236}">
                  <a16:creationId xmlns:a16="http://schemas.microsoft.com/office/drawing/2014/main" id="{7B6CCA06-C5CD-2746-8BBD-306C87C505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0263" y="3673475"/>
              <a:ext cx="163512" cy="155575"/>
            </a:xfrm>
            <a:custGeom>
              <a:avLst/>
              <a:gdLst>
                <a:gd name="T0" fmla="*/ 63 w 456"/>
                <a:gd name="T1" fmla="*/ 177 h 433"/>
                <a:gd name="T2" fmla="*/ 133 w 456"/>
                <a:gd name="T3" fmla="*/ 86 h 433"/>
                <a:gd name="T4" fmla="*/ 208 w 456"/>
                <a:gd name="T5" fmla="*/ 66 h 433"/>
                <a:gd name="T6" fmla="*/ 208 w 456"/>
                <a:gd name="T7" fmla="*/ 66 h 433"/>
                <a:gd name="T8" fmla="*/ 339 w 456"/>
                <a:gd name="T9" fmla="*/ 141 h 433"/>
                <a:gd name="T10" fmla="*/ 283 w 456"/>
                <a:gd name="T11" fmla="*/ 347 h 433"/>
                <a:gd name="T12" fmla="*/ 208 w 456"/>
                <a:gd name="T13" fmla="*/ 367 h 433"/>
                <a:gd name="T14" fmla="*/ 159 w 456"/>
                <a:gd name="T15" fmla="*/ 359 h 433"/>
                <a:gd name="T16" fmla="*/ 152 w 456"/>
                <a:gd name="T17" fmla="*/ 425 h 433"/>
                <a:gd name="T18" fmla="*/ 208 w 456"/>
                <a:gd name="T19" fmla="*/ 432 h 433"/>
                <a:gd name="T20" fmla="*/ 316 w 456"/>
                <a:gd name="T21" fmla="*/ 403 h 433"/>
                <a:gd name="T22" fmla="*/ 395 w 456"/>
                <a:gd name="T23" fmla="*/ 108 h 433"/>
                <a:gd name="T24" fmla="*/ 208 w 456"/>
                <a:gd name="T25" fmla="*/ 0 h 433"/>
                <a:gd name="T26" fmla="*/ 100 w 456"/>
                <a:gd name="T27" fmla="*/ 29 h 433"/>
                <a:gd name="T28" fmla="*/ 0 w 456"/>
                <a:gd name="T29" fmla="*/ 160 h 433"/>
                <a:gd name="T30" fmla="*/ 60 w 456"/>
                <a:gd name="T31" fmla="*/ 187 h 433"/>
                <a:gd name="T32" fmla="*/ 63 w 456"/>
                <a:gd name="T33" fmla="*/ 177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56" h="433">
                  <a:moveTo>
                    <a:pt x="63" y="177"/>
                  </a:moveTo>
                  <a:cubicBezTo>
                    <a:pt x="73" y="139"/>
                    <a:pt x="98" y="106"/>
                    <a:pt x="133" y="86"/>
                  </a:cubicBezTo>
                  <a:cubicBezTo>
                    <a:pt x="156" y="73"/>
                    <a:pt x="182" y="66"/>
                    <a:pt x="208" y="66"/>
                  </a:cubicBezTo>
                  <a:lnTo>
                    <a:pt x="208" y="66"/>
                  </a:lnTo>
                  <a:cubicBezTo>
                    <a:pt x="262" y="66"/>
                    <a:pt x="312" y="95"/>
                    <a:pt x="339" y="141"/>
                  </a:cubicBezTo>
                  <a:cubicBezTo>
                    <a:pt x="380" y="213"/>
                    <a:pt x="355" y="305"/>
                    <a:pt x="283" y="347"/>
                  </a:cubicBezTo>
                  <a:cubicBezTo>
                    <a:pt x="260" y="360"/>
                    <a:pt x="235" y="367"/>
                    <a:pt x="208" y="367"/>
                  </a:cubicBezTo>
                  <a:cubicBezTo>
                    <a:pt x="191" y="367"/>
                    <a:pt x="175" y="364"/>
                    <a:pt x="159" y="359"/>
                  </a:cubicBezTo>
                  <a:cubicBezTo>
                    <a:pt x="160" y="381"/>
                    <a:pt x="158" y="403"/>
                    <a:pt x="152" y="425"/>
                  </a:cubicBezTo>
                  <a:cubicBezTo>
                    <a:pt x="170" y="430"/>
                    <a:pt x="189" y="432"/>
                    <a:pt x="208" y="432"/>
                  </a:cubicBezTo>
                  <a:cubicBezTo>
                    <a:pt x="245" y="432"/>
                    <a:pt x="282" y="423"/>
                    <a:pt x="316" y="403"/>
                  </a:cubicBezTo>
                  <a:cubicBezTo>
                    <a:pt x="419" y="344"/>
                    <a:pt x="455" y="212"/>
                    <a:pt x="395" y="108"/>
                  </a:cubicBezTo>
                  <a:cubicBezTo>
                    <a:pt x="355" y="39"/>
                    <a:pt x="283" y="0"/>
                    <a:pt x="208" y="0"/>
                  </a:cubicBezTo>
                  <a:cubicBezTo>
                    <a:pt x="171" y="0"/>
                    <a:pt x="134" y="10"/>
                    <a:pt x="100" y="29"/>
                  </a:cubicBezTo>
                  <a:cubicBezTo>
                    <a:pt x="49" y="59"/>
                    <a:pt x="14" y="107"/>
                    <a:pt x="0" y="160"/>
                  </a:cubicBezTo>
                  <a:cubicBezTo>
                    <a:pt x="21" y="166"/>
                    <a:pt x="42" y="175"/>
                    <a:pt x="60" y="187"/>
                  </a:cubicBezTo>
                  <a:cubicBezTo>
                    <a:pt x="61" y="184"/>
                    <a:pt x="62" y="181"/>
                    <a:pt x="63" y="177"/>
                  </a:cubicBezTo>
                </a:path>
              </a:pathLst>
            </a:custGeom>
            <a:solidFill>
              <a:schemeClr val="accent5">
                <a:alpha val="7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2" name="Freeform 58">
              <a:extLst>
                <a:ext uri="{FF2B5EF4-FFF2-40B4-BE49-F238E27FC236}">
                  <a16:creationId xmlns:a16="http://schemas.microsoft.com/office/drawing/2014/main" id="{13A36AFC-F6D8-A347-9FAF-30163EA65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5500" y="3730625"/>
              <a:ext cx="63500" cy="95250"/>
            </a:xfrm>
            <a:custGeom>
              <a:avLst/>
              <a:gdLst>
                <a:gd name="T0" fmla="*/ 36 w 176"/>
                <a:gd name="T1" fmla="*/ 164 h 266"/>
                <a:gd name="T2" fmla="*/ 167 w 176"/>
                <a:gd name="T3" fmla="*/ 265 h 266"/>
                <a:gd name="T4" fmla="*/ 174 w 176"/>
                <a:gd name="T5" fmla="*/ 199 h 266"/>
                <a:gd name="T6" fmla="*/ 93 w 176"/>
                <a:gd name="T7" fmla="*/ 132 h 266"/>
                <a:gd name="T8" fmla="*/ 75 w 176"/>
                <a:gd name="T9" fmla="*/ 27 h 266"/>
                <a:gd name="T10" fmla="*/ 15 w 176"/>
                <a:gd name="T11" fmla="*/ 0 h 266"/>
                <a:gd name="T12" fmla="*/ 36 w 176"/>
                <a:gd name="T13" fmla="*/ 164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266">
                  <a:moveTo>
                    <a:pt x="36" y="164"/>
                  </a:moveTo>
                  <a:cubicBezTo>
                    <a:pt x="66" y="216"/>
                    <a:pt x="114" y="251"/>
                    <a:pt x="167" y="265"/>
                  </a:cubicBezTo>
                  <a:cubicBezTo>
                    <a:pt x="173" y="243"/>
                    <a:pt x="175" y="221"/>
                    <a:pt x="174" y="199"/>
                  </a:cubicBezTo>
                  <a:cubicBezTo>
                    <a:pt x="140" y="187"/>
                    <a:pt x="111" y="163"/>
                    <a:pt x="93" y="132"/>
                  </a:cubicBezTo>
                  <a:cubicBezTo>
                    <a:pt x="74" y="100"/>
                    <a:pt x="68" y="63"/>
                    <a:pt x="75" y="27"/>
                  </a:cubicBezTo>
                  <a:cubicBezTo>
                    <a:pt x="57" y="15"/>
                    <a:pt x="36" y="6"/>
                    <a:pt x="15" y="0"/>
                  </a:cubicBezTo>
                  <a:cubicBezTo>
                    <a:pt x="0" y="54"/>
                    <a:pt x="6" y="113"/>
                    <a:pt x="36" y="164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3" name="Freeform 60">
              <a:extLst>
                <a:ext uri="{FF2B5EF4-FFF2-40B4-BE49-F238E27FC236}">
                  <a16:creationId xmlns:a16="http://schemas.microsoft.com/office/drawing/2014/main" id="{4105A4B4-5E8F-E947-AD25-FAA110BA7D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22388" y="3937000"/>
              <a:ext cx="466725" cy="217488"/>
            </a:xfrm>
            <a:custGeom>
              <a:avLst/>
              <a:gdLst>
                <a:gd name="T0" fmla="*/ 1237 w 1297"/>
                <a:gd name="T1" fmla="*/ 139 h 605"/>
                <a:gd name="T2" fmla="*/ 942 w 1297"/>
                <a:gd name="T3" fmla="*/ 60 h 605"/>
                <a:gd name="T4" fmla="*/ 0 w 1297"/>
                <a:gd name="T5" fmla="*/ 604 h 605"/>
                <a:gd name="T6" fmla="*/ 864 w 1297"/>
                <a:gd name="T7" fmla="*/ 604 h 605"/>
                <a:gd name="T8" fmla="*/ 1158 w 1297"/>
                <a:gd name="T9" fmla="*/ 434 h 605"/>
                <a:gd name="T10" fmla="*/ 1237 w 1297"/>
                <a:gd name="T11" fmla="*/ 139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97" h="605">
                  <a:moveTo>
                    <a:pt x="1237" y="139"/>
                  </a:moveTo>
                  <a:cubicBezTo>
                    <a:pt x="1177" y="36"/>
                    <a:pt x="1045" y="0"/>
                    <a:pt x="942" y="60"/>
                  </a:cubicBezTo>
                  <a:lnTo>
                    <a:pt x="0" y="604"/>
                  </a:lnTo>
                  <a:lnTo>
                    <a:pt x="864" y="604"/>
                  </a:lnTo>
                  <a:lnTo>
                    <a:pt x="1158" y="434"/>
                  </a:lnTo>
                  <a:cubicBezTo>
                    <a:pt x="1261" y="374"/>
                    <a:pt x="1296" y="242"/>
                    <a:pt x="1237" y="139"/>
                  </a:cubicBez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4" name="Freeform 61">
              <a:extLst>
                <a:ext uri="{FF2B5EF4-FFF2-40B4-BE49-F238E27FC236}">
                  <a16:creationId xmlns:a16="http://schemas.microsoft.com/office/drawing/2014/main" id="{D1F6682C-47E4-0942-8D63-0E7191B0FF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6138" y="3849688"/>
              <a:ext cx="174625" cy="227012"/>
            </a:xfrm>
            <a:custGeom>
              <a:avLst/>
              <a:gdLst>
                <a:gd name="T0" fmla="*/ 0 w 484"/>
                <a:gd name="T1" fmla="*/ 352 h 632"/>
                <a:gd name="T2" fmla="*/ 132 w 484"/>
                <a:gd name="T3" fmla="*/ 453 h 632"/>
                <a:gd name="T4" fmla="*/ 153 w 484"/>
                <a:gd name="T5" fmla="*/ 617 h 632"/>
                <a:gd name="T6" fmla="*/ 317 w 484"/>
                <a:gd name="T7" fmla="*/ 595 h 632"/>
                <a:gd name="T8" fmla="*/ 483 w 484"/>
                <a:gd name="T9" fmla="*/ 499 h 632"/>
                <a:gd name="T10" fmla="*/ 483 w 484"/>
                <a:gd name="T11" fmla="*/ 0 h 632"/>
                <a:gd name="T12" fmla="*/ 101 w 484"/>
                <a:gd name="T13" fmla="*/ 221 h 632"/>
                <a:gd name="T14" fmla="*/ 0 w 484"/>
                <a:gd name="T15" fmla="*/ 352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4" h="632">
                  <a:moveTo>
                    <a:pt x="0" y="352"/>
                  </a:moveTo>
                  <a:cubicBezTo>
                    <a:pt x="54" y="366"/>
                    <a:pt x="102" y="401"/>
                    <a:pt x="132" y="453"/>
                  </a:cubicBezTo>
                  <a:cubicBezTo>
                    <a:pt x="161" y="504"/>
                    <a:pt x="167" y="563"/>
                    <a:pt x="153" y="617"/>
                  </a:cubicBezTo>
                  <a:cubicBezTo>
                    <a:pt x="207" y="631"/>
                    <a:pt x="265" y="625"/>
                    <a:pt x="317" y="595"/>
                  </a:cubicBezTo>
                  <a:lnTo>
                    <a:pt x="483" y="499"/>
                  </a:lnTo>
                  <a:lnTo>
                    <a:pt x="483" y="0"/>
                  </a:lnTo>
                  <a:lnTo>
                    <a:pt x="101" y="221"/>
                  </a:lnTo>
                  <a:cubicBezTo>
                    <a:pt x="49" y="251"/>
                    <a:pt x="15" y="299"/>
                    <a:pt x="0" y="352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5" name="Freeform 62">
              <a:extLst>
                <a:ext uri="{FF2B5EF4-FFF2-40B4-BE49-F238E27FC236}">
                  <a16:creationId xmlns:a16="http://schemas.microsoft.com/office/drawing/2014/main" id="{94070370-F758-A84C-984D-D4DFF7E63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9888" y="3576638"/>
              <a:ext cx="336550" cy="144462"/>
            </a:xfrm>
            <a:custGeom>
              <a:avLst/>
              <a:gdLst>
                <a:gd name="T0" fmla="*/ 50 w 934"/>
                <a:gd name="T1" fmla="*/ 260 h 400"/>
                <a:gd name="T2" fmla="*/ 345 w 934"/>
                <a:gd name="T3" fmla="*/ 339 h 400"/>
                <a:gd name="T4" fmla="*/ 933 w 934"/>
                <a:gd name="T5" fmla="*/ 0 h 400"/>
                <a:gd name="T6" fmla="*/ 84 w 934"/>
                <a:gd name="T7" fmla="*/ 0 h 400"/>
                <a:gd name="T8" fmla="*/ 50 w 934"/>
                <a:gd name="T9" fmla="*/ 260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4" h="400">
                  <a:moveTo>
                    <a:pt x="50" y="260"/>
                  </a:moveTo>
                  <a:cubicBezTo>
                    <a:pt x="109" y="363"/>
                    <a:pt x="241" y="399"/>
                    <a:pt x="345" y="339"/>
                  </a:cubicBezTo>
                  <a:lnTo>
                    <a:pt x="933" y="0"/>
                  </a:lnTo>
                  <a:lnTo>
                    <a:pt x="84" y="0"/>
                  </a:lnTo>
                  <a:cubicBezTo>
                    <a:pt x="16" y="67"/>
                    <a:pt x="0" y="174"/>
                    <a:pt x="50" y="260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6" name="Freeform 63">
              <a:extLst>
                <a:ext uri="{FF2B5EF4-FFF2-40B4-BE49-F238E27FC236}">
                  <a16:creationId xmlns:a16="http://schemas.microsoft.com/office/drawing/2014/main" id="{3A5E6721-838F-AD4D-A330-06A977A142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0475" y="3829050"/>
              <a:ext cx="77788" cy="153988"/>
            </a:xfrm>
            <a:custGeom>
              <a:avLst/>
              <a:gdLst>
                <a:gd name="T0" fmla="*/ 154 w 215"/>
                <a:gd name="T1" fmla="*/ 105 h 427"/>
                <a:gd name="T2" fmla="*/ 0 w 215"/>
                <a:gd name="T3" fmla="*/ 0 h 427"/>
                <a:gd name="T4" fmla="*/ 0 w 215"/>
                <a:gd name="T5" fmla="*/ 66 h 427"/>
                <a:gd name="T6" fmla="*/ 98 w 215"/>
                <a:gd name="T7" fmla="*/ 137 h 427"/>
                <a:gd name="T8" fmla="*/ 43 w 215"/>
                <a:gd name="T9" fmla="*/ 343 h 427"/>
                <a:gd name="T10" fmla="*/ 0 w 215"/>
                <a:gd name="T11" fmla="*/ 359 h 427"/>
                <a:gd name="T12" fmla="*/ 0 w 215"/>
                <a:gd name="T13" fmla="*/ 426 h 427"/>
                <a:gd name="T14" fmla="*/ 75 w 215"/>
                <a:gd name="T15" fmla="*/ 400 h 427"/>
                <a:gd name="T16" fmla="*/ 154 w 215"/>
                <a:gd name="T17" fmla="*/ 10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5" h="427">
                  <a:moveTo>
                    <a:pt x="154" y="105"/>
                  </a:moveTo>
                  <a:cubicBezTo>
                    <a:pt x="120" y="47"/>
                    <a:pt x="63" y="10"/>
                    <a:pt x="0" y="0"/>
                  </a:cubicBezTo>
                  <a:lnTo>
                    <a:pt x="0" y="66"/>
                  </a:lnTo>
                  <a:cubicBezTo>
                    <a:pt x="41" y="75"/>
                    <a:pt x="77" y="100"/>
                    <a:pt x="98" y="137"/>
                  </a:cubicBezTo>
                  <a:cubicBezTo>
                    <a:pt x="139" y="209"/>
                    <a:pt x="115" y="301"/>
                    <a:pt x="43" y="343"/>
                  </a:cubicBezTo>
                  <a:cubicBezTo>
                    <a:pt x="29" y="351"/>
                    <a:pt x="15" y="356"/>
                    <a:pt x="0" y="359"/>
                  </a:cubicBezTo>
                  <a:lnTo>
                    <a:pt x="0" y="426"/>
                  </a:lnTo>
                  <a:cubicBezTo>
                    <a:pt x="26" y="422"/>
                    <a:pt x="51" y="413"/>
                    <a:pt x="75" y="400"/>
                  </a:cubicBezTo>
                  <a:cubicBezTo>
                    <a:pt x="179" y="340"/>
                    <a:pt x="214" y="208"/>
                    <a:pt x="154" y="105"/>
                  </a:cubicBezTo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7" name="Freeform 64">
              <a:extLst>
                <a:ext uri="{FF2B5EF4-FFF2-40B4-BE49-F238E27FC236}">
                  <a16:creationId xmlns:a16="http://schemas.microsoft.com/office/drawing/2014/main" id="{72A1A936-A9A8-ED4D-990F-215D8E05E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11466" y="3970303"/>
              <a:ext cx="163513" cy="169863"/>
            </a:xfrm>
            <a:custGeom>
              <a:avLst/>
              <a:gdLst>
                <a:gd name="T0" fmla="*/ 324 w 456"/>
                <a:gd name="T1" fmla="*/ 178 h 470"/>
                <a:gd name="T2" fmla="*/ 302 w 456"/>
                <a:gd name="T3" fmla="*/ 14 h 470"/>
                <a:gd name="T4" fmla="*/ 139 w 456"/>
                <a:gd name="T5" fmla="*/ 36 h 470"/>
                <a:gd name="T6" fmla="*/ 60 w 456"/>
                <a:gd name="T7" fmla="*/ 331 h 470"/>
                <a:gd name="T8" fmla="*/ 355 w 456"/>
                <a:gd name="T9" fmla="*/ 410 h 470"/>
                <a:gd name="T10" fmla="*/ 455 w 456"/>
                <a:gd name="T11" fmla="*/ 279 h 470"/>
                <a:gd name="T12" fmla="*/ 324 w 456"/>
                <a:gd name="T13" fmla="*/ 17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470">
                  <a:moveTo>
                    <a:pt x="324" y="178"/>
                  </a:moveTo>
                  <a:cubicBezTo>
                    <a:pt x="294" y="126"/>
                    <a:pt x="288" y="67"/>
                    <a:pt x="302" y="14"/>
                  </a:cubicBezTo>
                  <a:cubicBezTo>
                    <a:pt x="249" y="0"/>
                    <a:pt x="190" y="6"/>
                    <a:pt x="139" y="36"/>
                  </a:cubicBezTo>
                  <a:cubicBezTo>
                    <a:pt x="35" y="95"/>
                    <a:pt x="0" y="228"/>
                    <a:pt x="60" y="331"/>
                  </a:cubicBezTo>
                  <a:cubicBezTo>
                    <a:pt x="119" y="435"/>
                    <a:pt x="251" y="469"/>
                    <a:pt x="355" y="410"/>
                  </a:cubicBezTo>
                  <a:cubicBezTo>
                    <a:pt x="406" y="380"/>
                    <a:pt x="441" y="332"/>
                    <a:pt x="455" y="279"/>
                  </a:cubicBezTo>
                  <a:cubicBezTo>
                    <a:pt x="402" y="264"/>
                    <a:pt x="354" y="230"/>
                    <a:pt x="324" y="178"/>
                  </a:cubicBezTo>
                </a:path>
              </a:pathLst>
            </a:custGeom>
            <a:solidFill>
              <a:schemeClr val="accent4">
                <a:alpha val="4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  <p:sp>
          <p:nvSpPr>
            <p:cNvPr id="28" name="Freeform 65">
              <a:extLst>
                <a:ext uri="{FF2B5EF4-FFF2-40B4-BE49-F238E27FC236}">
                  <a16:creationId xmlns:a16="http://schemas.microsoft.com/office/drawing/2014/main" id="{6CFDFA04-DBD1-F941-A784-26A0CB719D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12569" y="3970303"/>
              <a:ext cx="69450" cy="101635"/>
            </a:xfrm>
            <a:custGeom>
              <a:avLst/>
              <a:gdLst>
                <a:gd name="T0" fmla="*/ 146 w 182"/>
                <a:gd name="T1" fmla="*/ 101 h 266"/>
                <a:gd name="T2" fmla="*/ 14 w 182"/>
                <a:gd name="T3" fmla="*/ 0 h 266"/>
                <a:gd name="T4" fmla="*/ 36 w 182"/>
                <a:gd name="T5" fmla="*/ 164 h 266"/>
                <a:gd name="T6" fmla="*/ 167 w 182"/>
                <a:gd name="T7" fmla="*/ 265 h 266"/>
                <a:gd name="T8" fmla="*/ 146 w 182"/>
                <a:gd name="T9" fmla="*/ 10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266">
                  <a:moveTo>
                    <a:pt x="146" y="101"/>
                  </a:moveTo>
                  <a:cubicBezTo>
                    <a:pt x="116" y="49"/>
                    <a:pt x="68" y="14"/>
                    <a:pt x="14" y="0"/>
                  </a:cubicBezTo>
                  <a:cubicBezTo>
                    <a:pt x="0" y="53"/>
                    <a:pt x="6" y="112"/>
                    <a:pt x="36" y="164"/>
                  </a:cubicBezTo>
                  <a:cubicBezTo>
                    <a:pt x="66" y="216"/>
                    <a:pt x="114" y="250"/>
                    <a:pt x="167" y="265"/>
                  </a:cubicBezTo>
                  <a:cubicBezTo>
                    <a:pt x="181" y="211"/>
                    <a:pt x="175" y="152"/>
                    <a:pt x="146" y="101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426822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82">
          <p15:clr>
            <a:srgbClr val="FBAE40"/>
          </p15:clr>
        </p15:guide>
        <p15:guide id="2" pos="84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val 33">
            <a:extLst>
              <a:ext uri="{FF2B5EF4-FFF2-40B4-BE49-F238E27FC236}">
                <a16:creationId xmlns:a16="http://schemas.microsoft.com/office/drawing/2014/main" id="{207782AB-3D30-C047-96F3-D73DAD591A18}"/>
              </a:ext>
            </a:extLst>
          </p:cNvPr>
          <p:cNvSpPr/>
          <p:nvPr userDrawn="1"/>
        </p:nvSpPr>
        <p:spPr>
          <a:xfrm>
            <a:off x="7080612" y="972152"/>
            <a:ext cx="6722015" cy="6722015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: Rounded Corners 61">
            <a:extLst>
              <a:ext uri="{FF2B5EF4-FFF2-40B4-BE49-F238E27FC236}">
                <a16:creationId xmlns:a16="http://schemas.microsoft.com/office/drawing/2014/main" id="{25A3A0C1-9A20-F344-9FF8-81AF11160D84}"/>
              </a:ext>
            </a:extLst>
          </p:cNvPr>
          <p:cNvSpPr/>
          <p:nvPr userDrawn="1"/>
        </p:nvSpPr>
        <p:spPr>
          <a:xfrm>
            <a:off x="6698190" y="5130265"/>
            <a:ext cx="438169" cy="438169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F7B21E8-68CB-AC48-ABC4-65CF7BDB5FD6}"/>
              </a:ext>
            </a:extLst>
          </p:cNvPr>
          <p:cNvSpPr/>
          <p:nvPr userDrawn="1"/>
        </p:nvSpPr>
        <p:spPr>
          <a:xfrm>
            <a:off x="8653112" y="1745755"/>
            <a:ext cx="211756" cy="21175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: Rounded Corners 38">
            <a:extLst>
              <a:ext uri="{FF2B5EF4-FFF2-40B4-BE49-F238E27FC236}">
                <a16:creationId xmlns:a16="http://schemas.microsoft.com/office/drawing/2014/main" id="{0A86B392-69C2-B740-BFB0-6F21101F10F3}"/>
              </a:ext>
            </a:extLst>
          </p:cNvPr>
          <p:cNvSpPr/>
          <p:nvPr userDrawn="1"/>
        </p:nvSpPr>
        <p:spPr>
          <a:xfrm>
            <a:off x="9912939" y="395828"/>
            <a:ext cx="907144" cy="91049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: Rounded Corners 48">
            <a:extLst>
              <a:ext uri="{FF2B5EF4-FFF2-40B4-BE49-F238E27FC236}">
                <a16:creationId xmlns:a16="http://schemas.microsoft.com/office/drawing/2014/main" id="{FD426F3F-6192-274D-B3C4-5AA92DA32089}"/>
              </a:ext>
            </a:extLst>
          </p:cNvPr>
          <p:cNvSpPr/>
          <p:nvPr userDrawn="1"/>
        </p:nvSpPr>
        <p:spPr>
          <a:xfrm rot="3600000">
            <a:off x="11627782" y="1271411"/>
            <a:ext cx="399797" cy="1806644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20000"/>
                </a:schemeClr>
              </a:gs>
              <a:gs pos="63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: Rounded Corners 51">
            <a:extLst>
              <a:ext uri="{FF2B5EF4-FFF2-40B4-BE49-F238E27FC236}">
                <a16:creationId xmlns:a16="http://schemas.microsoft.com/office/drawing/2014/main" id="{42B77CBB-C390-4E40-82A9-690AED2EBE48}"/>
              </a:ext>
            </a:extLst>
          </p:cNvPr>
          <p:cNvSpPr/>
          <p:nvPr userDrawn="1"/>
        </p:nvSpPr>
        <p:spPr>
          <a:xfrm rot="3600000">
            <a:off x="9620008" y="1541458"/>
            <a:ext cx="1712808" cy="491945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: Rounded Corners 62">
            <a:extLst>
              <a:ext uri="{FF2B5EF4-FFF2-40B4-BE49-F238E27FC236}">
                <a16:creationId xmlns:a16="http://schemas.microsoft.com/office/drawing/2014/main" id="{0EDB1803-93B8-6049-A2E7-70A8BAAAC3B7}"/>
              </a:ext>
            </a:extLst>
          </p:cNvPr>
          <p:cNvSpPr/>
          <p:nvPr userDrawn="1"/>
        </p:nvSpPr>
        <p:spPr>
          <a:xfrm rot="3600000">
            <a:off x="10980472" y="4823860"/>
            <a:ext cx="1171773" cy="409315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: Rounded Corners 64">
            <a:extLst>
              <a:ext uri="{FF2B5EF4-FFF2-40B4-BE49-F238E27FC236}">
                <a16:creationId xmlns:a16="http://schemas.microsoft.com/office/drawing/2014/main" id="{ECE091A1-0AA6-E748-AE75-31EC65029053}"/>
              </a:ext>
            </a:extLst>
          </p:cNvPr>
          <p:cNvSpPr/>
          <p:nvPr userDrawn="1"/>
        </p:nvSpPr>
        <p:spPr>
          <a:xfrm>
            <a:off x="10536197" y="5626626"/>
            <a:ext cx="2002934" cy="200293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6" name="Picture 45" descr="A picture containing person, indoor, staring&#10;&#10;Description automatically generated">
            <a:extLst>
              <a:ext uri="{FF2B5EF4-FFF2-40B4-BE49-F238E27FC236}">
                <a16:creationId xmlns:a16="http://schemas.microsoft.com/office/drawing/2014/main" id="{FCDF4DD9-94F9-2745-92C9-83B0119EC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56468" y="-27384"/>
            <a:ext cx="7532220" cy="6858000"/>
          </a:xfrm>
          <a:prstGeom prst="rect">
            <a:avLst/>
          </a:prstGeom>
        </p:spPr>
      </p:pic>
      <p:sp>
        <p:nvSpPr>
          <p:cNvPr id="47" name="Rectangle: Rounded Corners 55">
            <a:extLst>
              <a:ext uri="{FF2B5EF4-FFF2-40B4-BE49-F238E27FC236}">
                <a16:creationId xmlns:a16="http://schemas.microsoft.com/office/drawing/2014/main" id="{B980E7A7-EDB7-DC4A-A190-6FC92E5BEDDE}"/>
              </a:ext>
            </a:extLst>
          </p:cNvPr>
          <p:cNvSpPr/>
          <p:nvPr userDrawn="1"/>
        </p:nvSpPr>
        <p:spPr>
          <a:xfrm rot="3600000">
            <a:off x="10729632" y="3249715"/>
            <a:ext cx="1947486" cy="4368671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1">
                  <a:alpha val="0"/>
                </a:schemeClr>
              </a:gs>
              <a:gs pos="53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: Rounded Corners 56">
            <a:extLst>
              <a:ext uri="{FF2B5EF4-FFF2-40B4-BE49-F238E27FC236}">
                <a16:creationId xmlns:a16="http://schemas.microsoft.com/office/drawing/2014/main" id="{CF427D3D-4798-B64D-AB39-7E2C23B4E12B}"/>
              </a:ext>
            </a:extLst>
          </p:cNvPr>
          <p:cNvSpPr/>
          <p:nvPr userDrawn="1"/>
        </p:nvSpPr>
        <p:spPr>
          <a:xfrm rot="3600000">
            <a:off x="8505277" y="3170300"/>
            <a:ext cx="2869353" cy="5267802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13000"/>
                </a:schemeClr>
              </a:gs>
              <a:gs pos="42000">
                <a:schemeClr val="accent6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75C0574-6920-9A4E-AB2B-389E9D63F0FB}"/>
              </a:ext>
            </a:extLst>
          </p:cNvPr>
          <p:cNvSpPr/>
          <p:nvPr userDrawn="1"/>
        </p:nvSpPr>
        <p:spPr>
          <a:xfrm>
            <a:off x="6429676" y="5645977"/>
            <a:ext cx="3728274" cy="3728274"/>
          </a:xfrm>
          <a:prstGeom prst="ellipse">
            <a:avLst/>
          </a:prstGeom>
          <a:solidFill>
            <a:schemeClr val="accent6">
              <a:alpha val="94000"/>
            </a:schemeClr>
          </a:solidFill>
          <a:ln>
            <a:noFill/>
          </a:ln>
          <a:effectLst>
            <a:softEdge rad="622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Rectangle: Rounded Corners 57">
            <a:extLst>
              <a:ext uri="{FF2B5EF4-FFF2-40B4-BE49-F238E27FC236}">
                <a16:creationId xmlns:a16="http://schemas.microsoft.com/office/drawing/2014/main" id="{2D5D549F-5EB3-A242-9E64-0FD4EA869455}"/>
              </a:ext>
            </a:extLst>
          </p:cNvPr>
          <p:cNvSpPr/>
          <p:nvPr userDrawn="1"/>
        </p:nvSpPr>
        <p:spPr>
          <a:xfrm rot="3600000">
            <a:off x="5154247" y="5537470"/>
            <a:ext cx="937075" cy="3270305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3">
                  <a:alpha val="0"/>
                </a:schemeClr>
              </a:gs>
              <a:gs pos="47000">
                <a:schemeClr val="accent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3CC2C0B2-E589-6346-B131-2F2AE56B1581}"/>
              </a:ext>
            </a:extLst>
          </p:cNvPr>
          <p:cNvSpPr/>
          <p:nvPr userDrawn="1"/>
        </p:nvSpPr>
        <p:spPr>
          <a:xfrm>
            <a:off x="8209800" y="6455583"/>
            <a:ext cx="1656096" cy="1656096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28FC822E-2D46-B443-A3E5-02F0C2124040}"/>
              </a:ext>
            </a:extLst>
          </p:cNvPr>
          <p:cNvSpPr/>
          <p:nvPr userDrawn="1"/>
        </p:nvSpPr>
        <p:spPr>
          <a:xfrm>
            <a:off x="9548262" y="3911440"/>
            <a:ext cx="115502" cy="11550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33F986C7-4838-7640-820E-1298AB1C612F}"/>
              </a:ext>
            </a:extLst>
          </p:cNvPr>
          <p:cNvSpPr/>
          <p:nvPr userDrawn="1"/>
        </p:nvSpPr>
        <p:spPr>
          <a:xfrm>
            <a:off x="11852375" y="6486487"/>
            <a:ext cx="147008" cy="14700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D6DCE3CD-221D-BA4C-9AC7-44578F263B34}"/>
              </a:ext>
            </a:extLst>
          </p:cNvPr>
          <p:cNvSpPr/>
          <p:nvPr userDrawn="1"/>
        </p:nvSpPr>
        <p:spPr>
          <a:xfrm>
            <a:off x="-1727090" y="2091517"/>
            <a:ext cx="2814158" cy="2814158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72E7A8-5AA3-7F44-84D2-231D6DB562C4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28" name="Freeform 1">
              <a:extLst>
                <a:ext uri="{FF2B5EF4-FFF2-40B4-BE49-F238E27FC236}">
                  <a16:creationId xmlns:a16="http://schemas.microsoft.com/office/drawing/2014/main" id="{3B4E8FD2-D921-F340-B9BF-050A71F93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9" name="Freeform 2">
              <a:extLst>
                <a:ext uri="{FF2B5EF4-FFF2-40B4-BE49-F238E27FC236}">
                  <a16:creationId xmlns:a16="http://schemas.microsoft.com/office/drawing/2014/main" id="{9DDA27A7-D1EE-754A-A094-752234A40D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6673803A-0F93-D44B-A735-F52E12F5E4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1" name="Freeform 4">
              <a:extLst>
                <a:ext uri="{FF2B5EF4-FFF2-40B4-BE49-F238E27FC236}">
                  <a16:creationId xmlns:a16="http://schemas.microsoft.com/office/drawing/2014/main" id="{41E91D8C-D855-3944-B0E9-54014903E8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32" name="Title 1">
            <a:extLst>
              <a:ext uri="{FF2B5EF4-FFF2-40B4-BE49-F238E27FC236}">
                <a16:creationId xmlns:a16="http://schemas.microsoft.com/office/drawing/2014/main" id="{4C3CECD4-2620-AA42-B581-B61EAED144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33" name="Subtitle 2">
            <a:extLst>
              <a:ext uri="{FF2B5EF4-FFF2-40B4-BE49-F238E27FC236}">
                <a16:creationId xmlns:a16="http://schemas.microsoft.com/office/drawing/2014/main" id="{068AC854-CFAE-164E-B5AC-0ED4133F40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37" name="Date Placeholder 3">
            <a:extLst>
              <a:ext uri="{FF2B5EF4-FFF2-40B4-BE49-F238E27FC236}">
                <a16:creationId xmlns:a16="http://schemas.microsoft.com/office/drawing/2014/main" id="{3E9DEF06-B83C-E849-B7F8-C21D3A7AA7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74032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>
            <a:extLst>
              <a:ext uri="{FF2B5EF4-FFF2-40B4-BE49-F238E27FC236}">
                <a16:creationId xmlns:a16="http://schemas.microsoft.com/office/drawing/2014/main" id="{113B8953-29ED-C446-921B-EAE5BA34678E}"/>
              </a:ext>
            </a:extLst>
          </p:cNvPr>
          <p:cNvSpPr/>
          <p:nvPr userDrawn="1"/>
        </p:nvSpPr>
        <p:spPr>
          <a:xfrm flipH="1">
            <a:off x="9024728" y="783820"/>
            <a:ext cx="1782639" cy="1772289"/>
          </a:xfrm>
          <a:prstGeom prst="ellipse">
            <a:avLst/>
          </a:prstGeom>
          <a:gradFill flip="none" rotWithShape="1">
            <a:gsLst>
              <a:gs pos="54000">
                <a:schemeClr val="accent1"/>
              </a:gs>
              <a:gs pos="0">
                <a:schemeClr val="accent1">
                  <a:alpha val="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B87DB6-4C8D-334D-9D2B-3AB7D32752E8}"/>
              </a:ext>
            </a:extLst>
          </p:cNvPr>
          <p:cNvSpPr/>
          <p:nvPr userDrawn="1"/>
        </p:nvSpPr>
        <p:spPr>
          <a:xfrm flipH="1">
            <a:off x="8005183" y="2721140"/>
            <a:ext cx="3771099" cy="3749205"/>
          </a:xfrm>
          <a:prstGeom prst="ellipse">
            <a:avLst/>
          </a:prstGeom>
          <a:gradFill flip="none" rotWithShape="1">
            <a:gsLst>
              <a:gs pos="46000">
                <a:schemeClr val="accent6"/>
              </a:gs>
              <a:gs pos="0">
                <a:schemeClr val="accent6">
                  <a:alpha val="60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50F206C-4432-2F47-B022-994F6C10F83D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28" name="Freeform 1">
              <a:extLst>
                <a:ext uri="{FF2B5EF4-FFF2-40B4-BE49-F238E27FC236}">
                  <a16:creationId xmlns:a16="http://schemas.microsoft.com/office/drawing/2014/main" id="{0E2C9D99-3360-AE42-BEAD-F46B423AC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29" name="Freeform 2">
              <a:extLst>
                <a:ext uri="{FF2B5EF4-FFF2-40B4-BE49-F238E27FC236}">
                  <a16:creationId xmlns:a16="http://schemas.microsoft.com/office/drawing/2014/main" id="{01129673-A516-3344-AB3D-0A85484E4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C608805B-41CC-1643-BA14-81DCF04DF4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31" name="Freeform 4">
              <a:extLst>
                <a:ext uri="{FF2B5EF4-FFF2-40B4-BE49-F238E27FC236}">
                  <a16:creationId xmlns:a16="http://schemas.microsoft.com/office/drawing/2014/main" id="{85045B5B-F6CB-DF46-89EC-00216D022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60139029-ED1D-EB41-A873-531499A673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655840" y="512305"/>
            <a:ext cx="11411297" cy="6393485"/>
          </a:xfrm>
          <a:prstGeom prst="rect">
            <a:avLst/>
          </a:prstGeom>
        </p:spPr>
      </p:pic>
      <p:sp>
        <p:nvSpPr>
          <p:cNvPr id="53" name="Circle: Hollow 93">
            <a:extLst>
              <a:ext uri="{FF2B5EF4-FFF2-40B4-BE49-F238E27FC236}">
                <a16:creationId xmlns:a16="http://schemas.microsoft.com/office/drawing/2014/main" id="{F2B8F35D-0593-934D-B35B-F05CE154C80A}"/>
              </a:ext>
            </a:extLst>
          </p:cNvPr>
          <p:cNvSpPr/>
          <p:nvPr userDrawn="1"/>
        </p:nvSpPr>
        <p:spPr>
          <a:xfrm flipH="1">
            <a:off x="5858896" y="2053373"/>
            <a:ext cx="179479" cy="178437"/>
          </a:xfrm>
          <a:prstGeom prst="donut">
            <a:avLst>
              <a:gd name="adj" fmla="val 19327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FCE2790-2989-5A48-B385-5D6492DED087}"/>
              </a:ext>
            </a:extLst>
          </p:cNvPr>
          <p:cNvSpPr/>
          <p:nvPr userDrawn="1"/>
        </p:nvSpPr>
        <p:spPr>
          <a:xfrm flipH="1">
            <a:off x="7917265" y="588683"/>
            <a:ext cx="326810" cy="324913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3" name="Circle: Hollow 13">
            <a:extLst>
              <a:ext uri="{FF2B5EF4-FFF2-40B4-BE49-F238E27FC236}">
                <a16:creationId xmlns:a16="http://schemas.microsoft.com/office/drawing/2014/main" id="{9B9EE8BE-8D56-6148-9545-E4AA41A6A170}"/>
              </a:ext>
            </a:extLst>
          </p:cNvPr>
          <p:cNvSpPr/>
          <p:nvPr userDrawn="1"/>
        </p:nvSpPr>
        <p:spPr>
          <a:xfrm flipH="1">
            <a:off x="-1569072" y="4937470"/>
            <a:ext cx="2823903" cy="2807508"/>
          </a:xfrm>
          <a:prstGeom prst="donut">
            <a:avLst>
              <a:gd name="adj" fmla="val 1743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DE36CC58-FBC2-F04F-A843-26825126336D}"/>
              </a:ext>
            </a:extLst>
          </p:cNvPr>
          <p:cNvSpPr/>
          <p:nvPr userDrawn="1"/>
        </p:nvSpPr>
        <p:spPr>
          <a:xfrm flipH="1">
            <a:off x="11625331" y="1028865"/>
            <a:ext cx="175648" cy="1746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15E7622-9B0B-C74E-AC0E-9FB806539022}"/>
              </a:ext>
            </a:extLst>
          </p:cNvPr>
          <p:cNvSpPr/>
          <p:nvPr userDrawn="1"/>
        </p:nvSpPr>
        <p:spPr>
          <a:xfrm flipH="1">
            <a:off x="8026708" y="1106549"/>
            <a:ext cx="141160" cy="14034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58428350-0A57-4E48-BEC6-246AFD34D341}"/>
              </a:ext>
            </a:extLst>
          </p:cNvPr>
          <p:cNvSpPr/>
          <p:nvPr userDrawn="1"/>
        </p:nvSpPr>
        <p:spPr>
          <a:xfrm flipH="1">
            <a:off x="6038375" y="983447"/>
            <a:ext cx="141160" cy="14034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CFB86D6E-A546-7F4D-A625-084EA2E5DED8}"/>
              </a:ext>
            </a:extLst>
          </p:cNvPr>
          <p:cNvSpPr/>
          <p:nvPr userDrawn="1"/>
        </p:nvSpPr>
        <p:spPr>
          <a:xfrm flipH="1">
            <a:off x="7679759" y="3442270"/>
            <a:ext cx="149036" cy="14817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5" name="Circle: Hollow 96">
            <a:extLst>
              <a:ext uri="{FF2B5EF4-FFF2-40B4-BE49-F238E27FC236}">
                <a16:creationId xmlns:a16="http://schemas.microsoft.com/office/drawing/2014/main" id="{E7854408-6B93-F94A-B50F-3A23C07423FF}"/>
              </a:ext>
            </a:extLst>
          </p:cNvPr>
          <p:cNvSpPr/>
          <p:nvPr userDrawn="1"/>
        </p:nvSpPr>
        <p:spPr>
          <a:xfrm flipH="1">
            <a:off x="7444224" y="5540373"/>
            <a:ext cx="150632" cy="149757"/>
          </a:xfrm>
          <a:prstGeom prst="donut">
            <a:avLst>
              <a:gd name="adj" fmla="val 258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8" name="Rectangle: Rounded Corners 21">
            <a:extLst>
              <a:ext uri="{FF2B5EF4-FFF2-40B4-BE49-F238E27FC236}">
                <a16:creationId xmlns:a16="http://schemas.microsoft.com/office/drawing/2014/main" id="{4DEBFB7C-F3C6-2F4B-BFF3-41F0BABEDFD8}"/>
              </a:ext>
            </a:extLst>
          </p:cNvPr>
          <p:cNvSpPr/>
          <p:nvPr userDrawn="1"/>
        </p:nvSpPr>
        <p:spPr>
          <a:xfrm rot="18000000" flipH="1">
            <a:off x="10352125" y="4386402"/>
            <a:ext cx="957461" cy="394931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93000">
                <a:schemeClr val="accent4">
                  <a:alpha val="0"/>
                </a:schemeClr>
              </a:gs>
              <a:gs pos="29000">
                <a:schemeClr val="accent4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59" name="Rectangle: Rounded Corners 51">
            <a:extLst>
              <a:ext uri="{FF2B5EF4-FFF2-40B4-BE49-F238E27FC236}">
                <a16:creationId xmlns:a16="http://schemas.microsoft.com/office/drawing/2014/main" id="{078DBAC9-4235-D44D-9C5E-710CC3F40EE6}"/>
              </a:ext>
            </a:extLst>
          </p:cNvPr>
          <p:cNvSpPr/>
          <p:nvPr userDrawn="1"/>
        </p:nvSpPr>
        <p:spPr>
          <a:xfrm rot="18000000" flipH="1">
            <a:off x="9824895" y="4133218"/>
            <a:ext cx="1045378" cy="306489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41000">
                <a:schemeClr val="accent5">
                  <a:alpha val="80000"/>
                </a:schemeClr>
              </a:gs>
              <a:gs pos="92000">
                <a:schemeClr val="accent5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F6749FB1-764B-404D-BF7B-08EEFF5FB555}"/>
              </a:ext>
            </a:extLst>
          </p:cNvPr>
          <p:cNvSpPr/>
          <p:nvPr userDrawn="1"/>
        </p:nvSpPr>
        <p:spPr>
          <a:xfrm flipH="1">
            <a:off x="11226403" y="1193964"/>
            <a:ext cx="363803" cy="36169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1" name="Rectangle: Rounded Corners 23">
            <a:extLst>
              <a:ext uri="{FF2B5EF4-FFF2-40B4-BE49-F238E27FC236}">
                <a16:creationId xmlns:a16="http://schemas.microsoft.com/office/drawing/2014/main" id="{EB3755B0-041A-934D-8C62-D0F72451B50E}"/>
              </a:ext>
            </a:extLst>
          </p:cNvPr>
          <p:cNvSpPr/>
          <p:nvPr userDrawn="1"/>
        </p:nvSpPr>
        <p:spPr>
          <a:xfrm rot="18000000" flipH="1">
            <a:off x="11295137" y="1661000"/>
            <a:ext cx="590947" cy="1922416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0000">
                <a:schemeClr val="accent6">
                  <a:alpha val="86000"/>
                </a:schemeClr>
              </a:gs>
              <a:gs pos="90000">
                <a:schemeClr val="accent6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2" name="Rectangle: Rounded Corners 18">
            <a:extLst>
              <a:ext uri="{FF2B5EF4-FFF2-40B4-BE49-F238E27FC236}">
                <a16:creationId xmlns:a16="http://schemas.microsoft.com/office/drawing/2014/main" id="{91937420-3690-2A4C-80F8-E21BA22EDAAD}"/>
              </a:ext>
            </a:extLst>
          </p:cNvPr>
          <p:cNvSpPr/>
          <p:nvPr userDrawn="1"/>
        </p:nvSpPr>
        <p:spPr>
          <a:xfrm rot="18000000" flipH="1">
            <a:off x="10386223" y="4553952"/>
            <a:ext cx="666018" cy="1733255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26000">
                <a:schemeClr val="accent3">
                  <a:alpha val="70000"/>
                </a:schemeClr>
              </a:gs>
              <a:gs pos="82000">
                <a:schemeClr val="accent3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2D33272B-02DA-1F42-9311-22FFFDF87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996857" y="4485036"/>
            <a:ext cx="2352598" cy="2472762"/>
          </a:xfrm>
          <a:prstGeom prst="rect">
            <a:avLst/>
          </a:prstGeom>
        </p:spPr>
      </p:pic>
      <p:sp>
        <p:nvSpPr>
          <p:cNvPr id="64" name="Oval 63">
            <a:extLst>
              <a:ext uri="{FF2B5EF4-FFF2-40B4-BE49-F238E27FC236}">
                <a16:creationId xmlns:a16="http://schemas.microsoft.com/office/drawing/2014/main" id="{70C670FB-9392-0C4F-9BC6-FEFB8A68CAA4}"/>
              </a:ext>
            </a:extLst>
          </p:cNvPr>
          <p:cNvSpPr/>
          <p:nvPr userDrawn="1"/>
        </p:nvSpPr>
        <p:spPr>
          <a:xfrm flipH="1">
            <a:off x="7754277" y="3415730"/>
            <a:ext cx="694692" cy="69066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51BB9C45-FE9E-EF47-A1BD-112DBDC8520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66" name="Subtitle 2">
            <a:extLst>
              <a:ext uri="{FF2B5EF4-FFF2-40B4-BE49-F238E27FC236}">
                <a16:creationId xmlns:a16="http://schemas.microsoft.com/office/drawing/2014/main" id="{B7EAF961-034B-7A45-A8BB-D40A520B9C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67" name="Date Placeholder 3">
            <a:extLst>
              <a:ext uri="{FF2B5EF4-FFF2-40B4-BE49-F238E27FC236}">
                <a16:creationId xmlns:a16="http://schemas.microsoft.com/office/drawing/2014/main" id="{839449D2-A520-6842-A2E7-A327225AFD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273935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C8FDB0C9-4DDE-4FAC-95F1-8B7128740D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042068" y="0"/>
            <a:ext cx="5149932" cy="5878512"/>
          </a:xfrm>
          <a:custGeom>
            <a:avLst/>
            <a:gdLst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5040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5040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5040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  <a:gd name="connsiteX0" fmla="*/ 2444335 w 5157600"/>
              <a:gd name="connsiteY0" fmla="*/ 0 h 5896326"/>
              <a:gd name="connsiteX1" fmla="*/ 5157600 w 5157600"/>
              <a:gd name="connsiteY1" fmla="*/ 0 h 5896326"/>
              <a:gd name="connsiteX2" fmla="*/ 5157600 w 5157600"/>
              <a:gd name="connsiteY2" fmla="*/ 4960604 h 5896326"/>
              <a:gd name="connsiteX3" fmla="*/ 5139606 w 5157600"/>
              <a:gd name="connsiteY3" fmla="*/ 5007064 h 5896326"/>
              <a:gd name="connsiteX4" fmla="*/ 4188448 w 5157600"/>
              <a:gd name="connsiteY4" fmla="*/ 5523262 h 5896326"/>
              <a:gd name="connsiteX5" fmla="*/ 4067914 w 5157600"/>
              <a:gd name="connsiteY5" fmla="*/ 5573954 h 5896326"/>
              <a:gd name="connsiteX6" fmla="*/ 3868375 w 5157600"/>
              <a:gd name="connsiteY6" fmla="*/ 5672344 h 5896326"/>
              <a:gd name="connsiteX7" fmla="*/ 2784516 w 5157600"/>
              <a:gd name="connsiteY7" fmla="*/ 5896326 h 5896326"/>
              <a:gd name="connsiteX8" fmla="*/ 0 w 5157600"/>
              <a:gd name="connsiteY8" fmla="*/ 3046134 h 5896326"/>
              <a:gd name="connsiteX9" fmla="*/ 1457250 w 5157600"/>
              <a:gd name="connsiteY9" fmla="*/ 539945 h 5896326"/>
              <a:gd name="connsiteX10" fmla="*/ 1507759 w 5157600"/>
              <a:gd name="connsiteY10" fmla="*/ 510278 h 5896326"/>
              <a:gd name="connsiteX11" fmla="*/ 1583909 w 5157600"/>
              <a:gd name="connsiteY11" fmla="*/ 467770 h 5896326"/>
              <a:gd name="connsiteX12" fmla="*/ 2444335 w 5157600"/>
              <a:gd name="connsiteY12" fmla="*/ 0 h 58963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157600" h="5896326">
                <a:moveTo>
                  <a:pt x="2444335" y="0"/>
                </a:moveTo>
                <a:lnTo>
                  <a:pt x="5157600" y="0"/>
                </a:lnTo>
                <a:lnTo>
                  <a:pt x="5157600" y="4960604"/>
                </a:lnTo>
                <a:lnTo>
                  <a:pt x="5139606" y="5007064"/>
                </a:lnTo>
                <a:cubicBezTo>
                  <a:pt x="4768181" y="5217429"/>
                  <a:pt x="4494388" y="5383740"/>
                  <a:pt x="4188448" y="5523262"/>
                </a:cubicBezTo>
                <a:lnTo>
                  <a:pt x="4067914" y="5573954"/>
                </a:lnTo>
                <a:lnTo>
                  <a:pt x="3868375" y="5672344"/>
                </a:lnTo>
                <a:cubicBezTo>
                  <a:pt x="3535241" y="5816572"/>
                  <a:pt x="3168978" y="5896326"/>
                  <a:pt x="2784516" y="5896326"/>
                </a:cubicBezTo>
                <a:cubicBezTo>
                  <a:pt x="1246670" y="5896326"/>
                  <a:pt x="0" y="4620252"/>
                  <a:pt x="0" y="3046134"/>
                </a:cubicBezTo>
                <a:cubicBezTo>
                  <a:pt x="0" y="1963928"/>
                  <a:pt x="589247" y="1022594"/>
                  <a:pt x="1457250" y="539945"/>
                </a:cubicBezTo>
                <a:lnTo>
                  <a:pt x="1507759" y="510278"/>
                </a:lnTo>
                <a:cubicBezTo>
                  <a:pt x="1596642" y="456421"/>
                  <a:pt x="1558526" y="483527"/>
                  <a:pt x="1583909" y="467770"/>
                </a:cubicBezTo>
                <a:cubicBezTo>
                  <a:pt x="2298151" y="97534"/>
                  <a:pt x="2181934" y="152947"/>
                  <a:pt x="2444335" y="0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</p:spPr>
        <p:txBody>
          <a:bodyPr wrap="square">
            <a:noAutofit/>
          </a:bodyPr>
          <a:lstStyle>
            <a:lvl1pPr marL="0" indent="0" algn="r">
              <a:buNone/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027E444-632B-8C47-B211-F2BBA5C717E2}"/>
              </a:ext>
            </a:extLst>
          </p:cNvPr>
          <p:cNvSpPr/>
          <p:nvPr userDrawn="1"/>
        </p:nvSpPr>
        <p:spPr>
          <a:xfrm>
            <a:off x="-2885569" y="4794615"/>
            <a:ext cx="5269730" cy="5269730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: Rounded Corners 61">
            <a:extLst>
              <a:ext uri="{FF2B5EF4-FFF2-40B4-BE49-F238E27FC236}">
                <a16:creationId xmlns:a16="http://schemas.microsoft.com/office/drawing/2014/main" id="{E5626DA7-5E1D-C442-83E8-51F864B2BD75}"/>
              </a:ext>
            </a:extLst>
          </p:cNvPr>
          <p:cNvSpPr/>
          <p:nvPr userDrawn="1"/>
        </p:nvSpPr>
        <p:spPr>
          <a:xfrm>
            <a:off x="7642275" y="5092197"/>
            <a:ext cx="343503" cy="343503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54465E5F-5294-F048-BED3-D7FC9B40FEF2}"/>
              </a:ext>
            </a:extLst>
          </p:cNvPr>
          <p:cNvSpPr/>
          <p:nvPr userDrawn="1"/>
        </p:nvSpPr>
        <p:spPr>
          <a:xfrm>
            <a:off x="6592402" y="5132386"/>
            <a:ext cx="166006" cy="16600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: Rounded Corners 38">
            <a:extLst>
              <a:ext uri="{FF2B5EF4-FFF2-40B4-BE49-F238E27FC236}">
                <a16:creationId xmlns:a16="http://schemas.microsoft.com/office/drawing/2014/main" id="{7907DE93-320E-0443-98E6-7C6A0254F4D8}"/>
              </a:ext>
            </a:extLst>
          </p:cNvPr>
          <p:cNvSpPr/>
          <p:nvPr userDrawn="1"/>
        </p:nvSpPr>
        <p:spPr>
          <a:xfrm>
            <a:off x="6463343" y="6006191"/>
            <a:ext cx="711156" cy="713781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: Rounded Corners 48">
            <a:extLst>
              <a:ext uri="{FF2B5EF4-FFF2-40B4-BE49-F238E27FC236}">
                <a16:creationId xmlns:a16="http://schemas.microsoft.com/office/drawing/2014/main" id="{9436BE4A-A781-EA43-9852-A106238B0C81}"/>
              </a:ext>
            </a:extLst>
          </p:cNvPr>
          <p:cNvSpPr/>
          <p:nvPr userDrawn="1"/>
        </p:nvSpPr>
        <p:spPr>
          <a:xfrm rot="3600000">
            <a:off x="11387879" y="2443105"/>
            <a:ext cx="313421" cy="1416320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20000"/>
                </a:schemeClr>
              </a:gs>
              <a:gs pos="63000">
                <a:schemeClr val="accent6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tangle: Rounded Corners 51">
            <a:extLst>
              <a:ext uri="{FF2B5EF4-FFF2-40B4-BE49-F238E27FC236}">
                <a16:creationId xmlns:a16="http://schemas.microsoft.com/office/drawing/2014/main" id="{20381A32-8EAE-ED4E-9481-EA5C911FB889}"/>
              </a:ext>
            </a:extLst>
          </p:cNvPr>
          <p:cNvSpPr/>
          <p:nvPr userDrawn="1"/>
        </p:nvSpPr>
        <p:spPr>
          <a:xfrm rot="3600000">
            <a:off x="9932837" y="2278749"/>
            <a:ext cx="1342757" cy="3856608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tangle: Rounded Corners 62">
            <a:extLst>
              <a:ext uri="{FF2B5EF4-FFF2-40B4-BE49-F238E27FC236}">
                <a16:creationId xmlns:a16="http://schemas.microsoft.com/office/drawing/2014/main" id="{AE6747C9-F5A8-AD4D-953B-ACBE9E5D40B5}"/>
              </a:ext>
            </a:extLst>
          </p:cNvPr>
          <p:cNvSpPr/>
          <p:nvPr userDrawn="1"/>
        </p:nvSpPr>
        <p:spPr>
          <a:xfrm rot="3600000">
            <a:off x="10545000" y="5063818"/>
            <a:ext cx="918613" cy="3208835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: Rounded Corners 64">
            <a:extLst>
              <a:ext uri="{FF2B5EF4-FFF2-40B4-BE49-F238E27FC236}">
                <a16:creationId xmlns:a16="http://schemas.microsoft.com/office/drawing/2014/main" id="{D03699B2-8DB8-C74C-83EE-587FABB657BF}"/>
              </a:ext>
            </a:extLst>
          </p:cNvPr>
          <p:cNvSpPr/>
          <p:nvPr userDrawn="1"/>
        </p:nvSpPr>
        <p:spPr>
          <a:xfrm>
            <a:off x="10651084" y="5481320"/>
            <a:ext cx="1570202" cy="157020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softEdge rad="635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: Rounded Corners 55">
            <a:extLst>
              <a:ext uri="{FF2B5EF4-FFF2-40B4-BE49-F238E27FC236}">
                <a16:creationId xmlns:a16="http://schemas.microsoft.com/office/drawing/2014/main" id="{DFF405C8-ACFF-3348-A903-FF8233DF8ECA}"/>
              </a:ext>
            </a:extLst>
          </p:cNvPr>
          <p:cNvSpPr/>
          <p:nvPr userDrawn="1"/>
        </p:nvSpPr>
        <p:spPr>
          <a:xfrm rot="3600000">
            <a:off x="10802728" y="3617938"/>
            <a:ext cx="1526733" cy="3424824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1">
                  <a:alpha val="0"/>
                </a:schemeClr>
              </a:gs>
              <a:gs pos="53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: Rounded Corners 56">
            <a:extLst>
              <a:ext uri="{FF2B5EF4-FFF2-40B4-BE49-F238E27FC236}">
                <a16:creationId xmlns:a16="http://schemas.microsoft.com/office/drawing/2014/main" id="{8B9AC496-BE53-0F42-A8CE-F164D200C48C}"/>
              </a:ext>
            </a:extLst>
          </p:cNvPr>
          <p:cNvSpPr/>
          <p:nvPr userDrawn="1"/>
        </p:nvSpPr>
        <p:spPr>
          <a:xfrm rot="3600000">
            <a:off x="9058942" y="3555681"/>
            <a:ext cx="2249432" cy="4129698"/>
          </a:xfrm>
          <a:prstGeom prst="roundRect">
            <a:avLst>
              <a:gd name="adj" fmla="val 50000"/>
            </a:avLst>
          </a:prstGeom>
          <a:gradFill>
            <a:gsLst>
              <a:gs pos="100000">
                <a:schemeClr val="accent6">
                  <a:alpha val="13000"/>
                </a:schemeClr>
              </a:gs>
              <a:gs pos="42000">
                <a:schemeClr val="accent6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Rectangle: Rounded Corners 57">
            <a:extLst>
              <a:ext uri="{FF2B5EF4-FFF2-40B4-BE49-F238E27FC236}">
                <a16:creationId xmlns:a16="http://schemas.microsoft.com/office/drawing/2014/main" id="{4FD82F39-65C7-EC4C-86A5-BC16EC0DC1A1}"/>
              </a:ext>
            </a:extLst>
          </p:cNvPr>
          <p:cNvSpPr/>
          <p:nvPr userDrawn="1"/>
        </p:nvSpPr>
        <p:spPr>
          <a:xfrm rot="3600000">
            <a:off x="10627903" y="3465319"/>
            <a:ext cx="734621" cy="2563759"/>
          </a:xfrm>
          <a:prstGeom prst="roundRect">
            <a:avLst>
              <a:gd name="adj" fmla="val 50000"/>
            </a:avLst>
          </a:prstGeom>
          <a:gradFill>
            <a:gsLst>
              <a:gs pos="86000">
                <a:schemeClr val="accent3">
                  <a:alpha val="0"/>
                </a:schemeClr>
              </a:gs>
              <a:gs pos="47000">
                <a:schemeClr val="accent3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8FB32868-BC5F-5E4C-BDE3-ACA662583B8A}"/>
              </a:ext>
            </a:extLst>
          </p:cNvPr>
          <p:cNvSpPr/>
          <p:nvPr userDrawn="1"/>
        </p:nvSpPr>
        <p:spPr>
          <a:xfrm>
            <a:off x="8827303" y="6131182"/>
            <a:ext cx="1298298" cy="1298298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E00F6FC9-A92F-034E-89A8-61FD72C77A40}"/>
              </a:ext>
            </a:extLst>
          </p:cNvPr>
          <p:cNvSpPr/>
          <p:nvPr userDrawn="1"/>
        </p:nvSpPr>
        <p:spPr>
          <a:xfrm>
            <a:off x="9876592" y="4136698"/>
            <a:ext cx="90548" cy="9054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AFB2B9B9-EC75-0F42-AE49-9F0DDDD46C93}"/>
              </a:ext>
            </a:extLst>
          </p:cNvPr>
          <p:cNvSpPr/>
          <p:nvPr userDrawn="1"/>
        </p:nvSpPr>
        <p:spPr>
          <a:xfrm>
            <a:off x="11682903" y="6155409"/>
            <a:ext cx="115247" cy="11524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B46D35AB-18C3-3841-AD71-3913B3CA7049}"/>
              </a:ext>
            </a:extLst>
          </p:cNvPr>
          <p:cNvSpPr/>
          <p:nvPr userDrawn="1"/>
        </p:nvSpPr>
        <p:spPr>
          <a:xfrm>
            <a:off x="15601056" y="4899953"/>
            <a:ext cx="2814158" cy="2814158"/>
          </a:xfrm>
          <a:prstGeom prst="ellipse">
            <a:avLst/>
          </a:prstGeom>
          <a:gradFill>
            <a:gsLst>
              <a:gs pos="0">
                <a:schemeClr val="accent3"/>
              </a:gs>
              <a:gs pos="92000">
                <a:schemeClr val="accent3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D4FBB82-8D46-C940-B9EB-A873C0DE617A}"/>
              </a:ext>
            </a:extLst>
          </p:cNvPr>
          <p:cNvGrpSpPr/>
          <p:nvPr userDrawn="1"/>
        </p:nvGrpSpPr>
        <p:grpSpPr>
          <a:xfrm>
            <a:off x="471601" y="443753"/>
            <a:ext cx="1087896" cy="425720"/>
            <a:chOff x="3562350" y="3567113"/>
            <a:chExt cx="3476625" cy="1360487"/>
          </a:xfrm>
          <a:solidFill>
            <a:schemeClr val="accent1"/>
          </a:solidFill>
        </p:grpSpPr>
        <p:sp>
          <p:nvSpPr>
            <p:cNvPr id="48" name="Freeform 1">
              <a:extLst>
                <a:ext uri="{FF2B5EF4-FFF2-40B4-BE49-F238E27FC236}">
                  <a16:creationId xmlns:a16="http://schemas.microsoft.com/office/drawing/2014/main" id="{4F1DC6F9-D79A-374E-96F4-D4144A67AA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0113" y="3800475"/>
              <a:ext cx="1136650" cy="1127125"/>
            </a:xfrm>
            <a:custGeom>
              <a:avLst/>
              <a:gdLst>
                <a:gd name="T0" fmla="*/ 10 w 3158"/>
                <a:gd name="T1" fmla="*/ 1539 h 3130"/>
                <a:gd name="T2" fmla="*/ 1599 w 3158"/>
                <a:gd name="T3" fmla="*/ 13 h 3130"/>
                <a:gd name="T4" fmla="*/ 3148 w 3158"/>
                <a:gd name="T5" fmla="*/ 1584 h 3130"/>
                <a:gd name="T6" fmla="*/ 1560 w 3158"/>
                <a:gd name="T7" fmla="*/ 3116 h 3130"/>
                <a:gd name="T8" fmla="*/ 10 w 3158"/>
                <a:gd name="T9" fmla="*/ 1545 h 3130"/>
                <a:gd name="T10" fmla="*/ 10 w 3158"/>
                <a:gd name="T11" fmla="*/ 1539 h 3130"/>
                <a:gd name="T12" fmla="*/ 711 w 3158"/>
                <a:gd name="T13" fmla="*/ 1553 h 3130"/>
                <a:gd name="T14" fmla="*/ 1568 w 3158"/>
                <a:gd name="T15" fmla="*/ 2456 h 3130"/>
                <a:gd name="T16" fmla="*/ 2446 w 3158"/>
                <a:gd name="T17" fmla="*/ 1570 h 3130"/>
                <a:gd name="T18" fmla="*/ 1591 w 3158"/>
                <a:gd name="T19" fmla="*/ 662 h 3130"/>
                <a:gd name="T20" fmla="*/ 712 w 3158"/>
                <a:gd name="T21" fmla="*/ 1548 h 3130"/>
                <a:gd name="T22" fmla="*/ 711 w 3158"/>
                <a:gd name="T23" fmla="*/ 1553 h 3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58" h="3130">
                  <a:moveTo>
                    <a:pt x="10" y="1539"/>
                  </a:moveTo>
                  <a:cubicBezTo>
                    <a:pt x="19" y="790"/>
                    <a:pt x="578" y="0"/>
                    <a:pt x="1599" y="13"/>
                  </a:cubicBezTo>
                  <a:cubicBezTo>
                    <a:pt x="2619" y="26"/>
                    <a:pt x="3157" y="830"/>
                    <a:pt x="3148" y="1584"/>
                  </a:cubicBezTo>
                  <a:cubicBezTo>
                    <a:pt x="3138" y="2341"/>
                    <a:pt x="2579" y="3129"/>
                    <a:pt x="1560" y="3116"/>
                  </a:cubicBezTo>
                  <a:cubicBezTo>
                    <a:pt x="539" y="3104"/>
                    <a:pt x="0" y="2302"/>
                    <a:pt x="10" y="1545"/>
                  </a:cubicBezTo>
                  <a:lnTo>
                    <a:pt x="10" y="1539"/>
                  </a:lnTo>
                  <a:close/>
                  <a:moveTo>
                    <a:pt x="711" y="1553"/>
                  </a:moveTo>
                  <a:cubicBezTo>
                    <a:pt x="705" y="2065"/>
                    <a:pt x="1089" y="2451"/>
                    <a:pt x="1568" y="2456"/>
                  </a:cubicBezTo>
                  <a:cubicBezTo>
                    <a:pt x="2047" y="2462"/>
                    <a:pt x="2440" y="2087"/>
                    <a:pt x="2446" y="1570"/>
                  </a:cubicBezTo>
                  <a:cubicBezTo>
                    <a:pt x="2453" y="1054"/>
                    <a:pt x="2070" y="669"/>
                    <a:pt x="1591" y="662"/>
                  </a:cubicBezTo>
                  <a:cubicBezTo>
                    <a:pt x="1112" y="656"/>
                    <a:pt x="718" y="1032"/>
                    <a:pt x="712" y="1548"/>
                  </a:cubicBezTo>
                  <a:lnTo>
                    <a:pt x="711" y="1553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49" name="Freeform 2">
              <a:extLst>
                <a:ext uri="{FF2B5EF4-FFF2-40B4-BE49-F238E27FC236}">
                  <a16:creationId xmlns:a16="http://schemas.microsoft.com/office/drawing/2014/main" id="{DEBACDF8-76FB-FA4D-8778-520CDA984F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9000" y="3567113"/>
              <a:ext cx="455613" cy="1338262"/>
            </a:xfrm>
            <a:custGeom>
              <a:avLst/>
              <a:gdLst>
                <a:gd name="T0" fmla="*/ 971 w 1264"/>
                <a:gd name="T1" fmla="*/ 3165 h 3717"/>
                <a:gd name="T2" fmla="*/ 765 w 1264"/>
                <a:gd name="T3" fmla="*/ 2983 h 3717"/>
                <a:gd name="T4" fmla="*/ 803 w 1264"/>
                <a:gd name="T5" fmla="*/ 9 h 3717"/>
                <a:gd name="T6" fmla="*/ 101 w 1264"/>
                <a:gd name="T7" fmla="*/ 0 h 3717"/>
                <a:gd name="T8" fmla="*/ 64 w 1264"/>
                <a:gd name="T9" fmla="*/ 2965 h 3717"/>
                <a:gd name="T10" fmla="*/ 696 w 1264"/>
                <a:gd name="T11" fmla="*/ 3708 h 3717"/>
                <a:gd name="T12" fmla="*/ 696 w 1264"/>
                <a:gd name="T13" fmla="*/ 3709 h 3717"/>
                <a:gd name="T14" fmla="*/ 1256 w 1264"/>
                <a:gd name="T15" fmla="*/ 3716 h 3717"/>
                <a:gd name="T16" fmla="*/ 1263 w 1264"/>
                <a:gd name="T17" fmla="*/ 3168 h 3717"/>
                <a:gd name="T18" fmla="*/ 971 w 1264"/>
                <a:gd name="T19" fmla="*/ 3165 h 3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64" h="3717">
                  <a:moveTo>
                    <a:pt x="971" y="3165"/>
                  </a:moveTo>
                  <a:cubicBezTo>
                    <a:pt x="971" y="3165"/>
                    <a:pt x="768" y="3164"/>
                    <a:pt x="765" y="2983"/>
                  </a:cubicBezTo>
                  <a:lnTo>
                    <a:pt x="803" y="9"/>
                  </a:lnTo>
                  <a:lnTo>
                    <a:pt x="101" y="0"/>
                  </a:lnTo>
                  <a:lnTo>
                    <a:pt x="64" y="2965"/>
                  </a:lnTo>
                  <a:cubicBezTo>
                    <a:pt x="64" y="2965"/>
                    <a:pt x="0" y="3699"/>
                    <a:pt x="696" y="3708"/>
                  </a:cubicBezTo>
                  <a:lnTo>
                    <a:pt x="696" y="3709"/>
                  </a:lnTo>
                  <a:lnTo>
                    <a:pt x="1256" y="3716"/>
                  </a:lnTo>
                  <a:lnTo>
                    <a:pt x="1263" y="3168"/>
                  </a:lnTo>
                  <a:lnTo>
                    <a:pt x="971" y="3165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50" name="Freeform 3">
              <a:extLst>
                <a:ext uri="{FF2B5EF4-FFF2-40B4-BE49-F238E27FC236}">
                  <a16:creationId xmlns:a16="http://schemas.microsoft.com/office/drawing/2014/main" id="{F1CD4D5D-0948-614D-80B4-8D27DAC82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2350" y="3786188"/>
              <a:ext cx="1069975" cy="1127125"/>
            </a:xfrm>
            <a:custGeom>
              <a:avLst/>
              <a:gdLst>
                <a:gd name="T0" fmla="*/ 2366 w 2971"/>
                <a:gd name="T1" fmla="*/ 1976 h 3132"/>
                <a:gd name="T2" fmla="*/ 1569 w 2971"/>
                <a:gd name="T3" fmla="*/ 2468 h 3132"/>
                <a:gd name="T4" fmla="*/ 716 w 2971"/>
                <a:gd name="T5" fmla="*/ 1556 h 3132"/>
                <a:gd name="T6" fmla="*/ 966 w 2971"/>
                <a:gd name="T7" fmla="*/ 910 h 3132"/>
                <a:gd name="T8" fmla="*/ 1593 w 2971"/>
                <a:gd name="T9" fmla="*/ 667 h 3132"/>
                <a:gd name="T10" fmla="*/ 2376 w 2971"/>
                <a:gd name="T11" fmla="*/ 1201 h 3132"/>
                <a:gd name="T12" fmla="*/ 2970 w 2971"/>
                <a:gd name="T13" fmla="*/ 871 h 3132"/>
                <a:gd name="T14" fmla="*/ 1576 w 2971"/>
                <a:gd name="T15" fmla="*/ 12 h 3132"/>
                <a:gd name="T16" fmla="*/ 11 w 2971"/>
                <a:gd name="T17" fmla="*/ 1545 h 3132"/>
                <a:gd name="T18" fmla="*/ 1559 w 2971"/>
                <a:gd name="T19" fmla="*/ 3123 h 3132"/>
                <a:gd name="T20" fmla="*/ 2950 w 2971"/>
                <a:gd name="T21" fmla="*/ 2314 h 3132"/>
                <a:gd name="T22" fmla="*/ 2379 w 2971"/>
                <a:gd name="T23" fmla="*/ 1977 h 3132"/>
                <a:gd name="T24" fmla="*/ 2366 w 2971"/>
                <a:gd name="T25" fmla="*/ 1976 h 3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1" h="3132">
                  <a:moveTo>
                    <a:pt x="2366" y="1976"/>
                  </a:moveTo>
                  <a:cubicBezTo>
                    <a:pt x="2256" y="2216"/>
                    <a:pt x="2006" y="2472"/>
                    <a:pt x="1569" y="2468"/>
                  </a:cubicBezTo>
                  <a:cubicBezTo>
                    <a:pt x="1072" y="2462"/>
                    <a:pt x="710" y="2081"/>
                    <a:pt x="716" y="1556"/>
                  </a:cubicBezTo>
                  <a:cubicBezTo>
                    <a:pt x="720" y="1300"/>
                    <a:pt x="815" y="1064"/>
                    <a:pt x="966" y="910"/>
                  </a:cubicBezTo>
                  <a:cubicBezTo>
                    <a:pt x="1138" y="742"/>
                    <a:pt x="1337" y="657"/>
                    <a:pt x="1593" y="667"/>
                  </a:cubicBezTo>
                  <a:cubicBezTo>
                    <a:pt x="1976" y="670"/>
                    <a:pt x="2254" y="891"/>
                    <a:pt x="2376" y="1201"/>
                  </a:cubicBezTo>
                  <a:lnTo>
                    <a:pt x="2970" y="871"/>
                  </a:lnTo>
                  <a:cubicBezTo>
                    <a:pt x="2716" y="350"/>
                    <a:pt x="2184" y="19"/>
                    <a:pt x="1576" y="12"/>
                  </a:cubicBezTo>
                  <a:cubicBezTo>
                    <a:pt x="696" y="0"/>
                    <a:pt x="22" y="683"/>
                    <a:pt x="11" y="1545"/>
                  </a:cubicBezTo>
                  <a:cubicBezTo>
                    <a:pt x="0" y="2384"/>
                    <a:pt x="634" y="3111"/>
                    <a:pt x="1559" y="3123"/>
                  </a:cubicBezTo>
                  <a:cubicBezTo>
                    <a:pt x="2184" y="3131"/>
                    <a:pt x="2691" y="2793"/>
                    <a:pt x="2950" y="2314"/>
                  </a:cubicBezTo>
                  <a:lnTo>
                    <a:pt x="2379" y="1977"/>
                  </a:lnTo>
                  <a:lnTo>
                    <a:pt x="2366" y="1976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  <p:sp>
          <p:nvSpPr>
            <p:cNvPr id="51" name="Freeform 4">
              <a:extLst>
                <a:ext uri="{FF2B5EF4-FFF2-40B4-BE49-F238E27FC236}">
                  <a16:creationId xmlns:a16="http://schemas.microsoft.com/office/drawing/2014/main" id="{F71F9BC0-5183-F441-B732-0A0E3508E9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6850" y="3575050"/>
              <a:ext cx="492125" cy="1338263"/>
            </a:xfrm>
            <a:custGeom>
              <a:avLst/>
              <a:gdLst>
                <a:gd name="T0" fmla="*/ 960 w 1365"/>
                <a:gd name="T1" fmla="*/ 3164 h 3718"/>
                <a:gd name="T2" fmla="*/ 753 w 1365"/>
                <a:gd name="T3" fmla="*/ 2983 h 3718"/>
                <a:gd name="T4" fmla="*/ 773 w 1365"/>
                <a:gd name="T5" fmla="*/ 1401 h 3718"/>
                <a:gd name="T6" fmla="*/ 1336 w 1365"/>
                <a:gd name="T7" fmla="*/ 1408 h 3718"/>
                <a:gd name="T8" fmla="*/ 1343 w 1365"/>
                <a:gd name="T9" fmla="*/ 860 h 3718"/>
                <a:gd name="T10" fmla="*/ 780 w 1365"/>
                <a:gd name="T11" fmla="*/ 853 h 3718"/>
                <a:gd name="T12" fmla="*/ 791 w 1365"/>
                <a:gd name="T13" fmla="*/ 9 h 3718"/>
                <a:gd name="T14" fmla="*/ 89 w 1365"/>
                <a:gd name="T15" fmla="*/ 0 h 3718"/>
                <a:gd name="T16" fmla="*/ 51 w 1365"/>
                <a:gd name="T17" fmla="*/ 2965 h 3718"/>
                <a:gd name="T18" fmla="*/ 683 w 1365"/>
                <a:gd name="T19" fmla="*/ 3708 h 3718"/>
                <a:gd name="T20" fmla="*/ 684 w 1365"/>
                <a:gd name="T21" fmla="*/ 3708 h 3718"/>
                <a:gd name="T22" fmla="*/ 1357 w 1365"/>
                <a:gd name="T23" fmla="*/ 3717 h 3718"/>
                <a:gd name="T24" fmla="*/ 1364 w 1365"/>
                <a:gd name="T25" fmla="*/ 3169 h 3718"/>
                <a:gd name="T26" fmla="*/ 960 w 1365"/>
                <a:gd name="T27" fmla="*/ 3164 h 3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5" h="3718">
                  <a:moveTo>
                    <a:pt x="960" y="3164"/>
                  </a:moveTo>
                  <a:cubicBezTo>
                    <a:pt x="960" y="3164"/>
                    <a:pt x="756" y="3164"/>
                    <a:pt x="753" y="2983"/>
                  </a:cubicBezTo>
                  <a:lnTo>
                    <a:pt x="773" y="1401"/>
                  </a:lnTo>
                  <a:lnTo>
                    <a:pt x="1336" y="1408"/>
                  </a:lnTo>
                  <a:lnTo>
                    <a:pt x="1343" y="860"/>
                  </a:lnTo>
                  <a:lnTo>
                    <a:pt x="780" y="853"/>
                  </a:lnTo>
                  <a:lnTo>
                    <a:pt x="791" y="9"/>
                  </a:lnTo>
                  <a:lnTo>
                    <a:pt x="89" y="0"/>
                  </a:lnTo>
                  <a:lnTo>
                    <a:pt x="51" y="2965"/>
                  </a:lnTo>
                  <a:cubicBezTo>
                    <a:pt x="51" y="2965"/>
                    <a:pt x="0" y="3701"/>
                    <a:pt x="683" y="3708"/>
                  </a:cubicBezTo>
                  <a:lnTo>
                    <a:pt x="684" y="3708"/>
                  </a:lnTo>
                  <a:lnTo>
                    <a:pt x="1357" y="3717"/>
                  </a:lnTo>
                  <a:lnTo>
                    <a:pt x="1364" y="3169"/>
                  </a:lnTo>
                  <a:lnTo>
                    <a:pt x="960" y="316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/>
            </a:p>
          </p:txBody>
        </p:sp>
      </p:grpSp>
      <p:sp>
        <p:nvSpPr>
          <p:cNvPr id="55" name="Title 1">
            <a:extLst>
              <a:ext uri="{FF2B5EF4-FFF2-40B4-BE49-F238E27FC236}">
                <a16:creationId xmlns:a16="http://schemas.microsoft.com/office/drawing/2014/main" id="{DFD9AE63-3AB3-9141-9D2C-BC968185C7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3025" y="2286000"/>
            <a:ext cx="5616575" cy="1884008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5400" b="1" i="0" baseline="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 Slide</a:t>
            </a:r>
            <a:endParaRPr lang="en-GB" noProof="0" dirty="0"/>
          </a:p>
        </p:txBody>
      </p:sp>
      <p:sp>
        <p:nvSpPr>
          <p:cNvPr id="56" name="Subtitle 2">
            <a:extLst>
              <a:ext uri="{FF2B5EF4-FFF2-40B4-BE49-F238E27FC236}">
                <a16:creationId xmlns:a16="http://schemas.microsoft.com/office/drawing/2014/main" id="{DF59F4AD-536C-374F-A67B-B114ABAB2A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025" y="4170008"/>
            <a:ext cx="5597668" cy="1154381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57" name="Date Placeholder 3">
            <a:extLst>
              <a:ext uri="{FF2B5EF4-FFF2-40B4-BE49-F238E27FC236}">
                <a16:creationId xmlns:a16="http://schemas.microsoft.com/office/drawing/2014/main" id="{819F8344-45D5-014F-BB2F-AB61410485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43025" y="5324388"/>
            <a:ext cx="3776460" cy="339811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590"/>
              </a:lnSpc>
              <a:defRPr sz="1410" b="1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2615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3">
          <p15:clr>
            <a:srgbClr val="FBAE40"/>
          </p15:clr>
        </p15:guide>
        <p15:guide id="2" pos="4384">
          <p15:clr>
            <a:srgbClr val="FBAE40"/>
          </p15:clr>
        </p15:guide>
        <p15:guide id="3" pos="8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405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1">
            <a:extLst>
              <a:ext uri="{FF2B5EF4-FFF2-40B4-BE49-F238E27FC236}">
                <a16:creationId xmlns:a16="http://schemas.microsoft.com/office/drawing/2014/main" id="{C400EB2C-77E2-47DD-BD49-274D28B48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92" y="2450971"/>
            <a:ext cx="451556" cy="733784"/>
          </a:xfrm>
          <a:custGeom>
            <a:avLst/>
            <a:gdLst>
              <a:gd name="T0" fmla="*/ 99 w 107"/>
              <a:gd name="T1" fmla="*/ 171 h 172"/>
              <a:gd name="T2" fmla="*/ 82 w 107"/>
              <a:gd name="T3" fmla="*/ 67 h 172"/>
              <a:gd name="T4" fmla="*/ 0 w 107"/>
              <a:gd name="T5" fmla="*/ 0 h 172"/>
              <a:gd name="T6" fmla="*/ 29 w 107"/>
              <a:gd name="T7" fmla="*/ 98 h 172"/>
              <a:gd name="T8" fmla="*/ 99 w 107"/>
              <a:gd name="T9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2">
                <a:moveTo>
                  <a:pt x="99" y="171"/>
                </a:moveTo>
                <a:cubicBezTo>
                  <a:pt x="106" y="137"/>
                  <a:pt x="101" y="100"/>
                  <a:pt x="82" y="67"/>
                </a:cubicBezTo>
                <a:cubicBezTo>
                  <a:pt x="63" y="35"/>
                  <a:pt x="34" y="12"/>
                  <a:pt x="0" y="0"/>
                </a:cubicBezTo>
                <a:cubicBezTo>
                  <a:pt x="2" y="33"/>
                  <a:pt x="11" y="67"/>
                  <a:pt x="29" y="98"/>
                </a:cubicBezTo>
                <a:cubicBezTo>
                  <a:pt x="47" y="129"/>
                  <a:pt x="71" y="153"/>
                  <a:pt x="99" y="171"/>
                </a:cubicBezTo>
              </a:path>
            </a:pathLst>
          </a:custGeom>
          <a:solidFill>
            <a:schemeClr val="accent3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122">
            <a:extLst>
              <a:ext uri="{FF2B5EF4-FFF2-40B4-BE49-F238E27FC236}">
                <a16:creationId xmlns:a16="http://schemas.microsoft.com/office/drawing/2014/main" id="{0AEC132E-078C-4D8E-9E36-028C4AE75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4895" y="1375617"/>
            <a:ext cx="1956741" cy="2013191"/>
          </a:xfrm>
          <a:custGeom>
            <a:avLst/>
            <a:gdLst>
              <a:gd name="T0" fmla="*/ 101 w 457"/>
              <a:gd name="T1" fmla="*/ 60 h 471"/>
              <a:gd name="T2" fmla="*/ 0 w 457"/>
              <a:gd name="T3" fmla="*/ 191 h 471"/>
              <a:gd name="T4" fmla="*/ 131 w 457"/>
              <a:gd name="T5" fmla="*/ 292 h 471"/>
              <a:gd name="T6" fmla="*/ 153 w 457"/>
              <a:gd name="T7" fmla="*/ 455 h 471"/>
              <a:gd name="T8" fmla="*/ 317 w 457"/>
              <a:gd name="T9" fmla="*/ 434 h 471"/>
              <a:gd name="T10" fmla="*/ 396 w 457"/>
              <a:gd name="T11" fmla="*/ 139 h 471"/>
              <a:gd name="T12" fmla="*/ 101 w 457"/>
              <a:gd name="T13" fmla="*/ 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471">
                <a:moveTo>
                  <a:pt x="101" y="60"/>
                </a:moveTo>
                <a:cubicBezTo>
                  <a:pt x="49" y="90"/>
                  <a:pt x="15" y="138"/>
                  <a:pt x="0" y="191"/>
                </a:cubicBezTo>
                <a:cubicBezTo>
                  <a:pt x="54" y="205"/>
                  <a:pt x="101" y="241"/>
                  <a:pt x="131" y="292"/>
                </a:cubicBezTo>
                <a:cubicBezTo>
                  <a:pt x="160" y="344"/>
                  <a:pt x="167" y="402"/>
                  <a:pt x="153" y="455"/>
                </a:cubicBezTo>
                <a:cubicBezTo>
                  <a:pt x="206" y="470"/>
                  <a:pt x="265" y="464"/>
                  <a:pt x="317" y="434"/>
                </a:cubicBezTo>
                <a:cubicBezTo>
                  <a:pt x="420" y="374"/>
                  <a:pt x="456" y="242"/>
                  <a:pt x="396" y="139"/>
                </a:cubicBezTo>
                <a:cubicBezTo>
                  <a:pt x="336" y="36"/>
                  <a:pt x="204" y="0"/>
                  <a:pt x="101" y="60"/>
                </a:cubicBezTo>
              </a:path>
            </a:pathLst>
          </a:custGeom>
          <a:solidFill>
            <a:schemeClr val="accent3">
              <a:alpha val="40000"/>
            </a:schemeClr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84CDA851-AAD8-447D-A1C1-EF2FB1392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459" y="3316452"/>
            <a:ext cx="2709334" cy="3066821"/>
          </a:xfrm>
          <a:custGeom>
            <a:avLst/>
            <a:gdLst>
              <a:gd name="T0" fmla="*/ 572 w 633"/>
              <a:gd name="T1" fmla="*/ 139 h 719"/>
              <a:gd name="T2" fmla="*/ 277 w 633"/>
              <a:gd name="T3" fmla="*/ 60 h 719"/>
              <a:gd name="T4" fmla="*/ 0 w 633"/>
              <a:gd name="T5" fmla="*/ 219 h 719"/>
              <a:gd name="T6" fmla="*/ 0 w 633"/>
              <a:gd name="T7" fmla="*/ 718 h 719"/>
              <a:gd name="T8" fmla="*/ 493 w 633"/>
              <a:gd name="T9" fmla="*/ 434 h 719"/>
              <a:gd name="T10" fmla="*/ 572 w 633"/>
              <a:gd name="T11" fmla="*/ 13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719">
                <a:moveTo>
                  <a:pt x="572" y="139"/>
                </a:moveTo>
                <a:cubicBezTo>
                  <a:pt x="512" y="35"/>
                  <a:pt x="380" y="0"/>
                  <a:pt x="277" y="60"/>
                </a:cubicBezTo>
                <a:lnTo>
                  <a:pt x="0" y="219"/>
                </a:lnTo>
                <a:lnTo>
                  <a:pt x="0" y="718"/>
                </a:lnTo>
                <a:lnTo>
                  <a:pt x="493" y="434"/>
                </a:lnTo>
                <a:cubicBezTo>
                  <a:pt x="596" y="374"/>
                  <a:pt x="632" y="242"/>
                  <a:pt x="572" y="139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C606A3-42F1-4591-B74F-28EA466C0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91" y="2149933"/>
            <a:ext cx="1831763" cy="1839584"/>
          </a:xfrm>
          <a:custGeom>
            <a:avLst/>
            <a:gdLst>
              <a:gd name="connsiteX0" fmla="*/ 916265 w 1831763"/>
              <a:gd name="connsiteY0" fmla="*/ 277432 h 1839584"/>
              <a:gd name="connsiteX1" fmla="*/ 597526 w 1831763"/>
              <a:gd name="connsiteY1" fmla="*/ 362795 h 1839584"/>
              <a:gd name="connsiteX2" fmla="*/ 300037 w 1831763"/>
              <a:gd name="connsiteY2" fmla="*/ 755467 h 1839584"/>
              <a:gd name="connsiteX3" fmla="*/ 363785 w 1831763"/>
              <a:gd name="connsiteY3" fmla="*/ 1242039 h 1839584"/>
              <a:gd name="connsiteX4" fmla="*/ 920515 w 1831763"/>
              <a:gd name="connsiteY4" fmla="*/ 1562153 h 1839584"/>
              <a:gd name="connsiteX5" fmla="*/ 1239254 w 1831763"/>
              <a:gd name="connsiteY5" fmla="*/ 1476789 h 1839584"/>
              <a:gd name="connsiteX6" fmla="*/ 1506397 w 1831763"/>
              <a:gd name="connsiteY6" fmla="*/ 1171281 h 1839584"/>
              <a:gd name="connsiteX7" fmla="*/ 1543782 w 1831763"/>
              <a:gd name="connsiteY7" fmla="*/ 1046321 h 1839584"/>
              <a:gd name="connsiteX8" fmla="*/ 1540190 w 1831763"/>
              <a:gd name="connsiteY8" fmla="*/ 1044336 h 1839584"/>
              <a:gd name="connsiteX9" fmla="*/ 1467496 w 1831763"/>
              <a:gd name="connsiteY9" fmla="*/ 601301 h 1839584"/>
              <a:gd name="connsiteX10" fmla="*/ 1116856 w 1831763"/>
              <a:gd name="connsiteY10" fmla="*/ 315883 h 1839584"/>
              <a:gd name="connsiteX11" fmla="*/ 1117087 w 1831763"/>
              <a:gd name="connsiteY11" fmla="*/ 309733 h 1839584"/>
              <a:gd name="connsiteX12" fmla="*/ 1023574 w 1831763"/>
              <a:gd name="connsiteY12" fmla="*/ 286501 h 1839584"/>
              <a:gd name="connsiteX13" fmla="*/ 916265 w 1831763"/>
              <a:gd name="connsiteY13" fmla="*/ 277432 h 1839584"/>
              <a:gd name="connsiteX14" fmla="*/ 916265 w 1831763"/>
              <a:gd name="connsiteY14" fmla="*/ 0 h 1839584"/>
              <a:gd name="connsiteX15" fmla="*/ 1154257 w 1831763"/>
              <a:gd name="connsiteY15" fmla="*/ 29877 h 1839584"/>
              <a:gd name="connsiteX16" fmla="*/ 1153064 w 1831763"/>
              <a:gd name="connsiteY16" fmla="*/ 36678 h 1839584"/>
              <a:gd name="connsiteX17" fmla="*/ 1232069 w 1831763"/>
              <a:gd name="connsiteY17" fmla="*/ 61251 h 1839584"/>
              <a:gd name="connsiteX18" fmla="*/ 1706958 w 1831763"/>
              <a:gd name="connsiteY18" fmla="*/ 464982 h 1839584"/>
              <a:gd name="connsiteX19" fmla="*/ 1819439 w 1831763"/>
              <a:gd name="connsiteY19" fmla="*/ 1073607 h 1839584"/>
              <a:gd name="connsiteX20" fmla="*/ 1801801 w 1831763"/>
              <a:gd name="connsiteY20" fmla="*/ 1155770 h 1839584"/>
              <a:gd name="connsiteX21" fmla="*/ 1804484 w 1831763"/>
              <a:gd name="connsiteY21" fmla="*/ 1156676 h 1839584"/>
              <a:gd name="connsiteX22" fmla="*/ 1375249 w 1831763"/>
              <a:gd name="connsiteY22" fmla="*/ 1720075 h 1839584"/>
              <a:gd name="connsiteX23" fmla="*/ 920515 w 1831763"/>
              <a:gd name="connsiteY23" fmla="*/ 1839584 h 1839584"/>
              <a:gd name="connsiteX24" fmla="*/ 121543 w 1831763"/>
              <a:gd name="connsiteY24" fmla="*/ 1378621 h 1839584"/>
              <a:gd name="connsiteX25" fmla="*/ 461531 w 1831763"/>
              <a:gd name="connsiteY25" fmla="*/ 123777 h 1839584"/>
              <a:gd name="connsiteX26" fmla="*/ 916265 w 1831763"/>
              <a:gd name="connsiteY26" fmla="*/ 0 h 183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31763" h="1839584">
                <a:moveTo>
                  <a:pt x="916265" y="277432"/>
                </a:moveTo>
                <a:cubicBezTo>
                  <a:pt x="805769" y="277432"/>
                  <a:pt x="695273" y="307309"/>
                  <a:pt x="597526" y="362795"/>
                </a:cubicBezTo>
                <a:cubicBezTo>
                  <a:pt x="448782" y="448159"/>
                  <a:pt x="342535" y="593277"/>
                  <a:pt x="300037" y="755467"/>
                </a:cubicBezTo>
                <a:cubicBezTo>
                  <a:pt x="257538" y="921926"/>
                  <a:pt x="278788" y="1092653"/>
                  <a:pt x="363785" y="1242039"/>
                </a:cubicBezTo>
                <a:cubicBezTo>
                  <a:pt x="478531" y="1438375"/>
                  <a:pt x="691023" y="1562153"/>
                  <a:pt x="920515" y="1562153"/>
                </a:cubicBezTo>
                <a:cubicBezTo>
                  <a:pt x="1031011" y="1562153"/>
                  <a:pt x="1141508" y="1532275"/>
                  <a:pt x="1239254" y="1476789"/>
                </a:cubicBezTo>
                <a:cubicBezTo>
                  <a:pt x="1363562" y="1403163"/>
                  <a:pt x="1454403" y="1295925"/>
                  <a:pt x="1506397" y="1171281"/>
                </a:cubicBezTo>
                <a:lnTo>
                  <a:pt x="1543782" y="1046321"/>
                </a:lnTo>
                <a:lnTo>
                  <a:pt x="1540190" y="1044336"/>
                </a:lnTo>
                <a:cubicBezTo>
                  <a:pt x="1570123" y="899498"/>
                  <a:pt x="1548742" y="741879"/>
                  <a:pt x="1467496" y="601301"/>
                </a:cubicBezTo>
                <a:cubicBezTo>
                  <a:pt x="1390527" y="464982"/>
                  <a:pt x="1262244" y="367003"/>
                  <a:pt x="1116856" y="315883"/>
                </a:cubicBezTo>
                <a:lnTo>
                  <a:pt x="1117087" y="309733"/>
                </a:lnTo>
                <a:lnTo>
                  <a:pt x="1023574" y="286501"/>
                </a:lnTo>
                <a:cubicBezTo>
                  <a:pt x="988513" y="280633"/>
                  <a:pt x="952389" y="277432"/>
                  <a:pt x="916265" y="277432"/>
                </a:cubicBezTo>
                <a:close/>
                <a:moveTo>
                  <a:pt x="916265" y="0"/>
                </a:moveTo>
                <a:cubicBezTo>
                  <a:pt x="997012" y="0"/>
                  <a:pt x="1077759" y="8536"/>
                  <a:pt x="1154257" y="29877"/>
                </a:cubicBezTo>
                <a:lnTo>
                  <a:pt x="1153064" y="36678"/>
                </a:lnTo>
                <a:lnTo>
                  <a:pt x="1232069" y="61251"/>
                </a:lnTo>
                <a:cubicBezTo>
                  <a:pt x="1427742" y="132772"/>
                  <a:pt x="1598452" y="271154"/>
                  <a:pt x="1706958" y="464982"/>
                </a:cubicBezTo>
                <a:cubicBezTo>
                  <a:pt x="1819205" y="655083"/>
                  <a:pt x="1852880" y="871276"/>
                  <a:pt x="1819439" y="1073607"/>
                </a:cubicBezTo>
                <a:lnTo>
                  <a:pt x="1801801" y="1155770"/>
                </a:lnTo>
                <a:lnTo>
                  <a:pt x="1804484" y="1156676"/>
                </a:lnTo>
                <a:cubicBezTo>
                  <a:pt x="1744986" y="1387157"/>
                  <a:pt x="1596242" y="1592030"/>
                  <a:pt x="1375249" y="1720075"/>
                </a:cubicBezTo>
                <a:cubicBezTo>
                  <a:pt x="1230754" y="1801170"/>
                  <a:pt x="1073510" y="1839584"/>
                  <a:pt x="920515" y="1839584"/>
                </a:cubicBezTo>
                <a:cubicBezTo>
                  <a:pt x="601776" y="1839584"/>
                  <a:pt x="291537" y="1677393"/>
                  <a:pt x="121543" y="1378621"/>
                </a:cubicBezTo>
                <a:cubicBezTo>
                  <a:pt x="-129198" y="938999"/>
                  <a:pt x="19547" y="375600"/>
                  <a:pt x="461531" y="123777"/>
                </a:cubicBezTo>
                <a:cubicBezTo>
                  <a:pt x="606026" y="38414"/>
                  <a:pt x="763271" y="0"/>
                  <a:pt x="916265" y="0"/>
                </a:cubicBezTo>
                <a:close/>
              </a:path>
            </a:pathLst>
          </a:custGeom>
          <a:solidFill>
            <a:schemeClr val="accent3">
              <a:alpha val="70000"/>
            </a:schemeClr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endParaRPr/>
          </a:p>
        </p:txBody>
      </p:sp>
      <p:sp>
        <p:nvSpPr>
          <p:cNvPr id="14" name="Freeform 127">
            <a:extLst>
              <a:ext uri="{FF2B5EF4-FFF2-40B4-BE49-F238E27FC236}">
                <a16:creationId xmlns:a16="http://schemas.microsoft.com/office/drawing/2014/main" id="{2AFB3E51-DBDA-4B23-B7B1-25E0B5F80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1852" y="3241193"/>
            <a:ext cx="2220148" cy="2803413"/>
          </a:xfrm>
          <a:custGeom>
            <a:avLst/>
            <a:gdLst>
              <a:gd name="T0" fmla="*/ 60 w 522"/>
              <a:gd name="T1" fmla="*/ 516 h 655"/>
              <a:gd name="T2" fmla="*/ 355 w 522"/>
              <a:gd name="T3" fmla="*/ 595 h 655"/>
              <a:gd name="T4" fmla="*/ 521 w 522"/>
              <a:gd name="T5" fmla="*/ 499 h 655"/>
              <a:gd name="T6" fmla="*/ 521 w 522"/>
              <a:gd name="T7" fmla="*/ 0 h 655"/>
              <a:gd name="T8" fmla="*/ 139 w 522"/>
              <a:gd name="T9" fmla="*/ 221 h 655"/>
              <a:gd name="T10" fmla="*/ 60 w 522"/>
              <a:gd name="T11" fmla="*/ 51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2" h="655">
                <a:moveTo>
                  <a:pt x="60" y="516"/>
                </a:moveTo>
                <a:cubicBezTo>
                  <a:pt x="120" y="619"/>
                  <a:pt x="252" y="654"/>
                  <a:pt x="355" y="595"/>
                </a:cubicBezTo>
                <a:lnTo>
                  <a:pt x="521" y="499"/>
                </a:lnTo>
                <a:lnTo>
                  <a:pt x="521" y="0"/>
                </a:lnTo>
                <a:lnTo>
                  <a:pt x="139" y="221"/>
                </a:lnTo>
                <a:cubicBezTo>
                  <a:pt x="36" y="280"/>
                  <a:pt x="0" y="412"/>
                  <a:pt x="60" y="516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4" y="1375616"/>
            <a:ext cx="2709334" cy="205338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300316" y="1376364"/>
            <a:ext cx="5448770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2527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1">
            <a:extLst>
              <a:ext uri="{FF2B5EF4-FFF2-40B4-BE49-F238E27FC236}">
                <a16:creationId xmlns:a16="http://schemas.microsoft.com/office/drawing/2014/main" id="{C400EB2C-77E2-47DD-BD49-274D28B48C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1992" y="2450971"/>
            <a:ext cx="451556" cy="733784"/>
          </a:xfrm>
          <a:custGeom>
            <a:avLst/>
            <a:gdLst>
              <a:gd name="T0" fmla="*/ 99 w 107"/>
              <a:gd name="T1" fmla="*/ 171 h 172"/>
              <a:gd name="T2" fmla="*/ 82 w 107"/>
              <a:gd name="T3" fmla="*/ 67 h 172"/>
              <a:gd name="T4" fmla="*/ 0 w 107"/>
              <a:gd name="T5" fmla="*/ 0 h 172"/>
              <a:gd name="T6" fmla="*/ 29 w 107"/>
              <a:gd name="T7" fmla="*/ 98 h 172"/>
              <a:gd name="T8" fmla="*/ 99 w 107"/>
              <a:gd name="T9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7" h="172">
                <a:moveTo>
                  <a:pt x="99" y="171"/>
                </a:moveTo>
                <a:cubicBezTo>
                  <a:pt x="106" y="137"/>
                  <a:pt x="101" y="100"/>
                  <a:pt x="82" y="67"/>
                </a:cubicBezTo>
                <a:cubicBezTo>
                  <a:pt x="63" y="35"/>
                  <a:pt x="34" y="12"/>
                  <a:pt x="0" y="0"/>
                </a:cubicBezTo>
                <a:cubicBezTo>
                  <a:pt x="2" y="33"/>
                  <a:pt x="11" y="67"/>
                  <a:pt x="29" y="98"/>
                </a:cubicBezTo>
                <a:cubicBezTo>
                  <a:pt x="47" y="129"/>
                  <a:pt x="71" y="153"/>
                  <a:pt x="99" y="171"/>
                </a:cubicBezTo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0" name="Freeform 122">
            <a:extLst>
              <a:ext uri="{FF2B5EF4-FFF2-40B4-BE49-F238E27FC236}">
                <a16:creationId xmlns:a16="http://schemas.microsoft.com/office/drawing/2014/main" id="{0AEC132E-078C-4D8E-9E36-028C4AE756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4895" y="1375617"/>
            <a:ext cx="1956741" cy="2013191"/>
          </a:xfrm>
          <a:custGeom>
            <a:avLst/>
            <a:gdLst>
              <a:gd name="T0" fmla="*/ 101 w 457"/>
              <a:gd name="T1" fmla="*/ 60 h 471"/>
              <a:gd name="T2" fmla="*/ 0 w 457"/>
              <a:gd name="T3" fmla="*/ 191 h 471"/>
              <a:gd name="T4" fmla="*/ 131 w 457"/>
              <a:gd name="T5" fmla="*/ 292 h 471"/>
              <a:gd name="T6" fmla="*/ 153 w 457"/>
              <a:gd name="T7" fmla="*/ 455 h 471"/>
              <a:gd name="T8" fmla="*/ 317 w 457"/>
              <a:gd name="T9" fmla="*/ 434 h 471"/>
              <a:gd name="T10" fmla="*/ 396 w 457"/>
              <a:gd name="T11" fmla="*/ 139 h 471"/>
              <a:gd name="T12" fmla="*/ 101 w 457"/>
              <a:gd name="T13" fmla="*/ 60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57" h="471">
                <a:moveTo>
                  <a:pt x="101" y="60"/>
                </a:moveTo>
                <a:cubicBezTo>
                  <a:pt x="49" y="90"/>
                  <a:pt x="15" y="138"/>
                  <a:pt x="0" y="191"/>
                </a:cubicBezTo>
                <a:cubicBezTo>
                  <a:pt x="54" y="205"/>
                  <a:pt x="101" y="241"/>
                  <a:pt x="131" y="292"/>
                </a:cubicBezTo>
                <a:cubicBezTo>
                  <a:pt x="160" y="344"/>
                  <a:pt x="167" y="402"/>
                  <a:pt x="153" y="455"/>
                </a:cubicBezTo>
                <a:cubicBezTo>
                  <a:pt x="206" y="470"/>
                  <a:pt x="265" y="464"/>
                  <a:pt x="317" y="434"/>
                </a:cubicBezTo>
                <a:cubicBezTo>
                  <a:pt x="420" y="374"/>
                  <a:pt x="456" y="242"/>
                  <a:pt x="396" y="139"/>
                </a:cubicBezTo>
                <a:cubicBezTo>
                  <a:pt x="336" y="36"/>
                  <a:pt x="204" y="0"/>
                  <a:pt x="101" y="60"/>
                </a:cubicBezTo>
              </a:path>
            </a:pathLst>
          </a:custGeom>
          <a:solidFill>
            <a:schemeClr val="accent4">
              <a:alpha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1" name="Freeform 123">
            <a:extLst>
              <a:ext uri="{FF2B5EF4-FFF2-40B4-BE49-F238E27FC236}">
                <a16:creationId xmlns:a16="http://schemas.microsoft.com/office/drawing/2014/main" id="{84CDA851-AAD8-447D-A1C1-EF2FB1392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8459" y="3316452"/>
            <a:ext cx="2709334" cy="3066821"/>
          </a:xfrm>
          <a:custGeom>
            <a:avLst/>
            <a:gdLst>
              <a:gd name="T0" fmla="*/ 572 w 633"/>
              <a:gd name="T1" fmla="*/ 139 h 719"/>
              <a:gd name="T2" fmla="*/ 277 w 633"/>
              <a:gd name="T3" fmla="*/ 60 h 719"/>
              <a:gd name="T4" fmla="*/ 0 w 633"/>
              <a:gd name="T5" fmla="*/ 219 h 719"/>
              <a:gd name="T6" fmla="*/ 0 w 633"/>
              <a:gd name="T7" fmla="*/ 718 h 719"/>
              <a:gd name="T8" fmla="*/ 493 w 633"/>
              <a:gd name="T9" fmla="*/ 434 h 719"/>
              <a:gd name="T10" fmla="*/ 572 w 633"/>
              <a:gd name="T11" fmla="*/ 13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3" h="719">
                <a:moveTo>
                  <a:pt x="572" y="139"/>
                </a:moveTo>
                <a:cubicBezTo>
                  <a:pt x="512" y="35"/>
                  <a:pt x="380" y="0"/>
                  <a:pt x="277" y="60"/>
                </a:cubicBezTo>
                <a:lnTo>
                  <a:pt x="0" y="219"/>
                </a:lnTo>
                <a:lnTo>
                  <a:pt x="0" y="718"/>
                </a:lnTo>
                <a:lnTo>
                  <a:pt x="493" y="434"/>
                </a:lnTo>
                <a:cubicBezTo>
                  <a:pt x="596" y="374"/>
                  <a:pt x="632" y="242"/>
                  <a:pt x="572" y="139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endParaRPr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C7C606A3-42F1-4591-B74F-28EA466C0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80591" y="2149933"/>
            <a:ext cx="1831763" cy="1839584"/>
          </a:xfrm>
          <a:custGeom>
            <a:avLst/>
            <a:gdLst>
              <a:gd name="connsiteX0" fmla="*/ 916265 w 1831763"/>
              <a:gd name="connsiteY0" fmla="*/ 277432 h 1839584"/>
              <a:gd name="connsiteX1" fmla="*/ 597526 w 1831763"/>
              <a:gd name="connsiteY1" fmla="*/ 362795 h 1839584"/>
              <a:gd name="connsiteX2" fmla="*/ 300037 w 1831763"/>
              <a:gd name="connsiteY2" fmla="*/ 755467 h 1839584"/>
              <a:gd name="connsiteX3" fmla="*/ 363785 w 1831763"/>
              <a:gd name="connsiteY3" fmla="*/ 1242039 h 1839584"/>
              <a:gd name="connsiteX4" fmla="*/ 920515 w 1831763"/>
              <a:gd name="connsiteY4" fmla="*/ 1562153 h 1839584"/>
              <a:gd name="connsiteX5" fmla="*/ 1239254 w 1831763"/>
              <a:gd name="connsiteY5" fmla="*/ 1476789 h 1839584"/>
              <a:gd name="connsiteX6" fmla="*/ 1506397 w 1831763"/>
              <a:gd name="connsiteY6" fmla="*/ 1171281 h 1839584"/>
              <a:gd name="connsiteX7" fmla="*/ 1543782 w 1831763"/>
              <a:gd name="connsiteY7" fmla="*/ 1046321 h 1839584"/>
              <a:gd name="connsiteX8" fmla="*/ 1540190 w 1831763"/>
              <a:gd name="connsiteY8" fmla="*/ 1044336 h 1839584"/>
              <a:gd name="connsiteX9" fmla="*/ 1467496 w 1831763"/>
              <a:gd name="connsiteY9" fmla="*/ 601301 h 1839584"/>
              <a:gd name="connsiteX10" fmla="*/ 1116856 w 1831763"/>
              <a:gd name="connsiteY10" fmla="*/ 315883 h 1839584"/>
              <a:gd name="connsiteX11" fmla="*/ 1117087 w 1831763"/>
              <a:gd name="connsiteY11" fmla="*/ 309733 h 1839584"/>
              <a:gd name="connsiteX12" fmla="*/ 1023574 w 1831763"/>
              <a:gd name="connsiteY12" fmla="*/ 286501 h 1839584"/>
              <a:gd name="connsiteX13" fmla="*/ 916265 w 1831763"/>
              <a:gd name="connsiteY13" fmla="*/ 277432 h 1839584"/>
              <a:gd name="connsiteX14" fmla="*/ 916265 w 1831763"/>
              <a:gd name="connsiteY14" fmla="*/ 0 h 1839584"/>
              <a:gd name="connsiteX15" fmla="*/ 1154257 w 1831763"/>
              <a:gd name="connsiteY15" fmla="*/ 29877 h 1839584"/>
              <a:gd name="connsiteX16" fmla="*/ 1153064 w 1831763"/>
              <a:gd name="connsiteY16" fmla="*/ 36678 h 1839584"/>
              <a:gd name="connsiteX17" fmla="*/ 1232069 w 1831763"/>
              <a:gd name="connsiteY17" fmla="*/ 61251 h 1839584"/>
              <a:gd name="connsiteX18" fmla="*/ 1706958 w 1831763"/>
              <a:gd name="connsiteY18" fmla="*/ 464982 h 1839584"/>
              <a:gd name="connsiteX19" fmla="*/ 1819439 w 1831763"/>
              <a:gd name="connsiteY19" fmla="*/ 1073607 h 1839584"/>
              <a:gd name="connsiteX20" fmla="*/ 1801801 w 1831763"/>
              <a:gd name="connsiteY20" fmla="*/ 1155770 h 1839584"/>
              <a:gd name="connsiteX21" fmla="*/ 1804484 w 1831763"/>
              <a:gd name="connsiteY21" fmla="*/ 1156676 h 1839584"/>
              <a:gd name="connsiteX22" fmla="*/ 1375249 w 1831763"/>
              <a:gd name="connsiteY22" fmla="*/ 1720075 h 1839584"/>
              <a:gd name="connsiteX23" fmla="*/ 920515 w 1831763"/>
              <a:gd name="connsiteY23" fmla="*/ 1839584 h 1839584"/>
              <a:gd name="connsiteX24" fmla="*/ 121543 w 1831763"/>
              <a:gd name="connsiteY24" fmla="*/ 1378621 h 1839584"/>
              <a:gd name="connsiteX25" fmla="*/ 461531 w 1831763"/>
              <a:gd name="connsiteY25" fmla="*/ 123777 h 1839584"/>
              <a:gd name="connsiteX26" fmla="*/ 916265 w 1831763"/>
              <a:gd name="connsiteY26" fmla="*/ 0 h 1839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831763" h="1839584">
                <a:moveTo>
                  <a:pt x="916265" y="277432"/>
                </a:moveTo>
                <a:cubicBezTo>
                  <a:pt x="805769" y="277432"/>
                  <a:pt x="695273" y="307309"/>
                  <a:pt x="597526" y="362795"/>
                </a:cubicBezTo>
                <a:cubicBezTo>
                  <a:pt x="448782" y="448159"/>
                  <a:pt x="342535" y="593277"/>
                  <a:pt x="300037" y="755467"/>
                </a:cubicBezTo>
                <a:cubicBezTo>
                  <a:pt x="257538" y="921926"/>
                  <a:pt x="278788" y="1092653"/>
                  <a:pt x="363785" y="1242039"/>
                </a:cubicBezTo>
                <a:cubicBezTo>
                  <a:pt x="478531" y="1438375"/>
                  <a:pt x="691023" y="1562153"/>
                  <a:pt x="920515" y="1562153"/>
                </a:cubicBezTo>
                <a:cubicBezTo>
                  <a:pt x="1031011" y="1562153"/>
                  <a:pt x="1141508" y="1532275"/>
                  <a:pt x="1239254" y="1476789"/>
                </a:cubicBezTo>
                <a:cubicBezTo>
                  <a:pt x="1363562" y="1403163"/>
                  <a:pt x="1454403" y="1295925"/>
                  <a:pt x="1506397" y="1171281"/>
                </a:cubicBezTo>
                <a:lnTo>
                  <a:pt x="1543782" y="1046321"/>
                </a:lnTo>
                <a:lnTo>
                  <a:pt x="1540190" y="1044336"/>
                </a:lnTo>
                <a:cubicBezTo>
                  <a:pt x="1570123" y="899498"/>
                  <a:pt x="1548742" y="741879"/>
                  <a:pt x="1467496" y="601301"/>
                </a:cubicBezTo>
                <a:cubicBezTo>
                  <a:pt x="1390527" y="464982"/>
                  <a:pt x="1262244" y="367003"/>
                  <a:pt x="1116856" y="315883"/>
                </a:cubicBezTo>
                <a:lnTo>
                  <a:pt x="1117087" y="309733"/>
                </a:lnTo>
                <a:lnTo>
                  <a:pt x="1023574" y="286501"/>
                </a:lnTo>
                <a:cubicBezTo>
                  <a:pt x="988513" y="280633"/>
                  <a:pt x="952389" y="277432"/>
                  <a:pt x="916265" y="277432"/>
                </a:cubicBezTo>
                <a:close/>
                <a:moveTo>
                  <a:pt x="916265" y="0"/>
                </a:moveTo>
                <a:cubicBezTo>
                  <a:pt x="997012" y="0"/>
                  <a:pt x="1077759" y="8536"/>
                  <a:pt x="1154257" y="29877"/>
                </a:cubicBezTo>
                <a:lnTo>
                  <a:pt x="1153064" y="36678"/>
                </a:lnTo>
                <a:lnTo>
                  <a:pt x="1232069" y="61251"/>
                </a:lnTo>
                <a:cubicBezTo>
                  <a:pt x="1427742" y="132772"/>
                  <a:pt x="1598452" y="271154"/>
                  <a:pt x="1706958" y="464982"/>
                </a:cubicBezTo>
                <a:cubicBezTo>
                  <a:pt x="1819205" y="655083"/>
                  <a:pt x="1852880" y="871276"/>
                  <a:pt x="1819439" y="1073607"/>
                </a:cubicBezTo>
                <a:lnTo>
                  <a:pt x="1801801" y="1155770"/>
                </a:lnTo>
                <a:lnTo>
                  <a:pt x="1804484" y="1156676"/>
                </a:lnTo>
                <a:cubicBezTo>
                  <a:pt x="1744986" y="1387157"/>
                  <a:pt x="1596242" y="1592030"/>
                  <a:pt x="1375249" y="1720075"/>
                </a:cubicBezTo>
                <a:cubicBezTo>
                  <a:pt x="1230754" y="1801170"/>
                  <a:pt x="1073510" y="1839584"/>
                  <a:pt x="920515" y="1839584"/>
                </a:cubicBezTo>
                <a:cubicBezTo>
                  <a:pt x="601776" y="1839584"/>
                  <a:pt x="291537" y="1677393"/>
                  <a:pt x="121543" y="1378621"/>
                </a:cubicBezTo>
                <a:cubicBezTo>
                  <a:pt x="-129198" y="938999"/>
                  <a:pt x="19547" y="375600"/>
                  <a:pt x="461531" y="123777"/>
                </a:cubicBezTo>
                <a:cubicBezTo>
                  <a:pt x="606026" y="38414"/>
                  <a:pt x="763271" y="0"/>
                  <a:pt x="916265" y="0"/>
                </a:cubicBezTo>
                <a:close/>
              </a:path>
            </a:pathLst>
          </a:custGeom>
          <a:solidFill>
            <a:schemeClr val="accent4">
              <a:alpha val="7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endParaRPr/>
          </a:p>
        </p:txBody>
      </p:sp>
      <p:sp>
        <p:nvSpPr>
          <p:cNvPr id="14" name="Freeform 127">
            <a:extLst>
              <a:ext uri="{FF2B5EF4-FFF2-40B4-BE49-F238E27FC236}">
                <a16:creationId xmlns:a16="http://schemas.microsoft.com/office/drawing/2014/main" id="{2AFB3E51-DBDA-4B23-B7B1-25E0B5F80A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71852" y="3241193"/>
            <a:ext cx="2220148" cy="2803413"/>
          </a:xfrm>
          <a:custGeom>
            <a:avLst/>
            <a:gdLst>
              <a:gd name="T0" fmla="*/ 60 w 522"/>
              <a:gd name="T1" fmla="*/ 516 h 655"/>
              <a:gd name="T2" fmla="*/ 355 w 522"/>
              <a:gd name="T3" fmla="*/ 595 h 655"/>
              <a:gd name="T4" fmla="*/ 521 w 522"/>
              <a:gd name="T5" fmla="*/ 499 h 655"/>
              <a:gd name="T6" fmla="*/ 521 w 522"/>
              <a:gd name="T7" fmla="*/ 0 h 655"/>
              <a:gd name="T8" fmla="*/ 139 w 522"/>
              <a:gd name="T9" fmla="*/ 221 h 655"/>
              <a:gd name="T10" fmla="*/ 60 w 522"/>
              <a:gd name="T11" fmla="*/ 516 h 6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2" h="655">
                <a:moveTo>
                  <a:pt x="60" y="516"/>
                </a:moveTo>
                <a:cubicBezTo>
                  <a:pt x="120" y="619"/>
                  <a:pt x="252" y="654"/>
                  <a:pt x="355" y="595"/>
                </a:cubicBezTo>
                <a:lnTo>
                  <a:pt x="521" y="499"/>
                </a:lnTo>
                <a:lnTo>
                  <a:pt x="521" y="0"/>
                </a:lnTo>
                <a:lnTo>
                  <a:pt x="139" y="221"/>
                </a:lnTo>
                <a:cubicBezTo>
                  <a:pt x="36" y="280"/>
                  <a:pt x="0" y="412"/>
                  <a:pt x="60" y="516"/>
                </a:cubicBezTo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DE2BE-1E55-4CBB-AF1C-6949A5F3A0E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42914" y="1375616"/>
            <a:ext cx="2709334" cy="2053383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52999F-5742-4BA1-AD85-6F5512D310F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278800" y="6400800"/>
            <a:ext cx="442800" cy="2268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GB" smtClean="0"/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1BC7D3-BAF4-4886-8107-DC6896636C1B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300316" y="1376364"/>
            <a:ext cx="5448770" cy="4789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9531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7">
            <a:extLst>
              <a:ext uri="{FF2B5EF4-FFF2-40B4-BE49-F238E27FC236}">
                <a16:creationId xmlns:a16="http://schemas.microsoft.com/office/drawing/2014/main" id="{69B59F74-0BCD-4018-9D30-6598CF3C8E85}"/>
              </a:ext>
            </a:extLst>
          </p:cNvPr>
          <p:cNvSpPr>
            <a:spLocks noChangeArrowheads="1"/>
          </p:cNvSpPr>
          <p:nvPr userDrawn="1"/>
        </p:nvSpPr>
        <p:spPr bwMode="auto">
          <a:xfrm rot="10800000">
            <a:off x="11410391" y="5869697"/>
            <a:ext cx="793668" cy="824524"/>
          </a:xfrm>
          <a:custGeom>
            <a:avLst/>
            <a:gdLst>
              <a:gd name="T0" fmla="*/ 1417 w 1478"/>
              <a:gd name="T1" fmla="*/ 139 h 711"/>
              <a:gd name="T2" fmla="*/ 1122 w 1478"/>
              <a:gd name="T3" fmla="*/ 60 h 711"/>
              <a:gd name="T4" fmla="*/ 24 w 1478"/>
              <a:gd name="T5" fmla="*/ 694 h 711"/>
              <a:gd name="T6" fmla="*/ 0 w 1478"/>
              <a:gd name="T7" fmla="*/ 710 h 711"/>
              <a:gd name="T8" fmla="*/ 859 w 1478"/>
              <a:gd name="T9" fmla="*/ 710 h 711"/>
              <a:gd name="T10" fmla="*/ 1338 w 1478"/>
              <a:gd name="T11" fmla="*/ 434 h 711"/>
              <a:gd name="T12" fmla="*/ 1417 w 1478"/>
              <a:gd name="T13" fmla="*/ 139 h 711"/>
              <a:gd name="connsiteX0" fmla="*/ 9587 w 9785"/>
              <a:gd name="connsiteY0" fmla="*/ 1524 h 10356"/>
              <a:gd name="connsiteX1" fmla="*/ 7591 w 9785"/>
              <a:gd name="connsiteY1" fmla="*/ 413 h 10356"/>
              <a:gd name="connsiteX2" fmla="*/ 162 w 9785"/>
              <a:gd name="connsiteY2" fmla="*/ 9330 h 10356"/>
              <a:gd name="connsiteX3" fmla="*/ 0 w 9785"/>
              <a:gd name="connsiteY3" fmla="*/ 9555 h 10356"/>
              <a:gd name="connsiteX4" fmla="*/ 4999 w 9785"/>
              <a:gd name="connsiteY4" fmla="*/ 10356 h 10356"/>
              <a:gd name="connsiteX5" fmla="*/ 9053 w 9785"/>
              <a:gd name="connsiteY5" fmla="*/ 5673 h 10356"/>
              <a:gd name="connsiteX6" fmla="*/ 9587 w 9785"/>
              <a:gd name="connsiteY6" fmla="*/ 1524 h 10356"/>
              <a:gd name="connsiteX0" fmla="*/ 9636 w 9838"/>
              <a:gd name="connsiteY0" fmla="*/ 1472 h 11892"/>
              <a:gd name="connsiteX1" fmla="*/ 7596 w 9838"/>
              <a:gd name="connsiteY1" fmla="*/ 399 h 11892"/>
              <a:gd name="connsiteX2" fmla="*/ 4 w 9838"/>
              <a:gd name="connsiteY2" fmla="*/ 9009 h 11892"/>
              <a:gd name="connsiteX3" fmla="*/ 625 w 9838"/>
              <a:gd name="connsiteY3" fmla="*/ 11892 h 11892"/>
              <a:gd name="connsiteX4" fmla="*/ 4947 w 9838"/>
              <a:gd name="connsiteY4" fmla="*/ 10000 h 11892"/>
              <a:gd name="connsiteX5" fmla="*/ 9090 w 9838"/>
              <a:gd name="connsiteY5" fmla="*/ 5478 h 11892"/>
              <a:gd name="connsiteX6" fmla="*/ 9636 w 9838"/>
              <a:gd name="connsiteY6" fmla="*/ 1472 h 11892"/>
              <a:gd name="connsiteX0" fmla="*/ 9160 w 9365"/>
              <a:gd name="connsiteY0" fmla="*/ 1238 h 10000"/>
              <a:gd name="connsiteX1" fmla="*/ 7086 w 9365"/>
              <a:gd name="connsiteY1" fmla="*/ 336 h 10000"/>
              <a:gd name="connsiteX2" fmla="*/ 4480 w 9365"/>
              <a:gd name="connsiteY2" fmla="*/ 2661 h 10000"/>
              <a:gd name="connsiteX3" fmla="*/ 0 w 9365"/>
              <a:gd name="connsiteY3" fmla="*/ 10000 h 10000"/>
              <a:gd name="connsiteX4" fmla="*/ 4393 w 9365"/>
              <a:gd name="connsiteY4" fmla="*/ 8409 h 10000"/>
              <a:gd name="connsiteX5" fmla="*/ 8605 w 9365"/>
              <a:gd name="connsiteY5" fmla="*/ 4606 h 10000"/>
              <a:gd name="connsiteX6" fmla="*/ 9160 w 9365"/>
              <a:gd name="connsiteY6" fmla="*/ 1238 h 10000"/>
              <a:gd name="connsiteX0" fmla="*/ 5130 w 5350"/>
              <a:gd name="connsiteY0" fmla="*/ 1238 h 8409"/>
              <a:gd name="connsiteX1" fmla="*/ 2915 w 5350"/>
              <a:gd name="connsiteY1" fmla="*/ 336 h 8409"/>
              <a:gd name="connsiteX2" fmla="*/ 133 w 5350"/>
              <a:gd name="connsiteY2" fmla="*/ 2661 h 8409"/>
              <a:gd name="connsiteX3" fmla="*/ 0 w 5350"/>
              <a:gd name="connsiteY3" fmla="*/ 2482 h 8409"/>
              <a:gd name="connsiteX4" fmla="*/ 40 w 5350"/>
              <a:gd name="connsiteY4" fmla="*/ 8409 h 8409"/>
              <a:gd name="connsiteX5" fmla="*/ 4537 w 5350"/>
              <a:gd name="connsiteY5" fmla="*/ 4606 h 8409"/>
              <a:gd name="connsiteX6" fmla="*/ 5130 w 5350"/>
              <a:gd name="connsiteY6" fmla="*/ 1238 h 8409"/>
              <a:gd name="connsiteX0" fmla="*/ 9521 w 9932"/>
              <a:gd name="connsiteY0" fmla="*/ 1471 h 9999"/>
              <a:gd name="connsiteX1" fmla="*/ 5381 w 9932"/>
              <a:gd name="connsiteY1" fmla="*/ 399 h 9999"/>
              <a:gd name="connsiteX2" fmla="*/ 181 w 9932"/>
              <a:gd name="connsiteY2" fmla="*/ 3163 h 9999"/>
              <a:gd name="connsiteX3" fmla="*/ 19 w 9932"/>
              <a:gd name="connsiteY3" fmla="*/ 5891 h 9999"/>
              <a:gd name="connsiteX4" fmla="*/ 7 w 9932"/>
              <a:gd name="connsiteY4" fmla="*/ 9999 h 9999"/>
              <a:gd name="connsiteX5" fmla="*/ 8412 w 9932"/>
              <a:gd name="connsiteY5" fmla="*/ 5476 h 9999"/>
              <a:gd name="connsiteX6" fmla="*/ 9521 w 9932"/>
              <a:gd name="connsiteY6" fmla="*/ 1471 h 9999"/>
              <a:gd name="connsiteX0" fmla="*/ 9586 w 10000"/>
              <a:gd name="connsiteY0" fmla="*/ 1471 h 10000"/>
              <a:gd name="connsiteX1" fmla="*/ 5418 w 10000"/>
              <a:gd name="connsiteY1" fmla="*/ 399 h 10000"/>
              <a:gd name="connsiteX2" fmla="*/ 95 w 10000"/>
              <a:gd name="connsiteY2" fmla="*/ 3205 h 10000"/>
              <a:gd name="connsiteX3" fmla="*/ 19 w 10000"/>
              <a:gd name="connsiteY3" fmla="*/ 5892 h 10000"/>
              <a:gd name="connsiteX4" fmla="*/ 7 w 10000"/>
              <a:gd name="connsiteY4" fmla="*/ 10000 h 10000"/>
              <a:gd name="connsiteX5" fmla="*/ 8470 w 10000"/>
              <a:gd name="connsiteY5" fmla="*/ 5477 h 10000"/>
              <a:gd name="connsiteX6" fmla="*/ 9586 w 10000"/>
              <a:gd name="connsiteY6" fmla="*/ 147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9586" y="1471"/>
                </a:moveTo>
                <a:cubicBezTo>
                  <a:pt x="8753" y="58"/>
                  <a:pt x="6887" y="-417"/>
                  <a:pt x="5418" y="399"/>
                </a:cubicBezTo>
                <a:lnTo>
                  <a:pt x="95" y="3205"/>
                </a:lnTo>
                <a:cubicBezTo>
                  <a:pt x="-35" y="3273"/>
                  <a:pt x="117" y="5810"/>
                  <a:pt x="19" y="5892"/>
                </a:cubicBezTo>
                <a:cubicBezTo>
                  <a:pt x="43" y="8241"/>
                  <a:pt x="-18" y="7650"/>
                  <a:pt x="7" y="10000"/>
                </a:cubicBezTo>
                <a:cubicBezTo>
                  <a:pt x="2263" y="8750"/>
                  <a:pt x="6215" y="6729"/>
                  <a:pt x="8470" y="5477"/>
                </a:cubicBezTo>
                <a:cubicBezTo>
                  <a:pt x="9938" y="4662"/>
                  <a:pt x="10435" y="2870"/>
                  <a:pt x="9586" y="1471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950DDC-9CA7-4F73-8A1E-2DC27E223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11306175" cy="9350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B7C25-69B9-46B1-AB95-F8CF2ADCA6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1" y="1376364"/>
            <a:ext cx="11306175" cy="47894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dirty="0"/>
              <a:t>First bullet</a:t>
            </a:r>
          </a:p>
          <a:p>
            <a:pPr lvl="1"/>
            <a:r>
              <a:rPr lang="en-US" dirty="0"/>
              <a:t>Second bullet</a:t>
            </a:r>
          </a:p>
          <a:p>
            <a:pPr lvl="2"/>
            <a:r>
              <a:rPr lang="en-US" dirty="0"/>
              <a:t>Third bullet</a:t>
            </a:r>
          </a:p>
          <a:p>
            <a:pPr lvl="3"/>
            <a:r>
              <a:rPr lang="en-US" dirty="0"/>
              <a:t>Plain text</a:t>
            </a:r>
          </a:p>
          <a:p>
            <a:pPr lvl="4"/>
            <a:r>
              <a:rPr lang="en-US" dirty="0"/>
              <a:t>Header</a:t>
            </a:r>
          </a:p>
          <a:p>
            <a:pPr lvl="5"/>
            <a:r>
              <a:rPr lang="en-US" dirty="0"/>
              <a:t>Header - Alt</a:t>
            </a:r>
          </a:p>
          <a:p>
            <a:pPr lvl="6"/>
            <a:r>
              <a:rPr lang="en-US" dirty="0"/>
              <a:t>Enumeration</a:t>
            </a:r>
          </a:p>
          <a:p>
            <a:pPr lvl="7"/>
            <a:r>
              <a:rPr lang="en-US" dirty="0"/>
              <a:t>Alphabet below enumeration</a:t>
            </a:r>
          </a:p>
          <a:p>
            <a:pPr lvl="8"/>
            <a:r>
              <a:rPr lang="en-US" dirty="0"/>
              <a:t>Quote text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0ABE80-1534-42E6-A6AB-60B9B4F5A0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78800" y="6400800"/>
            <a:ext cx="442800" cy="22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529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533400" indent="-2667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accent2"/>
          </a:solidFill>
          <a:latin typeface="+mn-lt"/>
          <a:ea typeface="+mn-ea"/>
          <a:cs typeface="+mn-cs"/>
        </a:defRPr>
      </a:lvl6pPr>
      <a:lvl7pPr marL="457200" indent="-457200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+mj-lt"/>
        <a:buAutoNum type="arabi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447675" indent="-447675" algn="l" defTabSz="9144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+mj-lt"/>
        <a:buAutoNum type="alphaLcPeriod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None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27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pos="279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ebaim.org/techniques/acrobat/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4.xml"/><Relationship Id="rId4" Type="http://schemas.openxmlformats.org/officeDocument/2006/relationships/hyperlink" Target="https://www.adobe.com/accessibility/products/acrobat/using-acrobat-pro-accessibility-checker.htm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61382B-D94B-974E-953E-BA3D29B98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39F0BD7-ED0E-DA4B-A679-578D473067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9416" y="2286000"/>
            <a:ext cx="5041007" cy="1884008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rgbClr val="0C7972"/>
                </a:solidFill>
              </a:rPr>
              <a:t>Optimising Accessibility</a:t>
            </a:r>
            <a:endParaRPr dirty="0">
              <a:solidFill>
                <a:srgbClr val="0C7972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E5B0C775-0E75-4843-8EAC-3A81C4F85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416" y="4283550"/>
            <a:ext cx="4815426" cy="1884008"/>
          </a:xfrm>
        </p:spPr>
        <p:txBody>
          <a:bodyPr>
            <a:normAutofit/>
          </a:bodyPr>
          <a:lstStyle/>
          <a:p>
            <a:r>
              <a:rPr lang="en-US" dirty="0"/>
              <a:t>Creating accessible PDFs with Adobe Acrobat and Microsoft Word</a:t>
            </a:r>
          </a:p>
          <a:p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6189128-7329-4B86-9B05-512A29B809D8}"/>
              </a:ext>
            </a:extLst>
          </p:cNvPr>
          <p:cNvSpPr/>
          <p:nvPr/>
        </p:nvSpPr>
        <p:spPr>
          <a:xfrm>
            <a:off x="7968208" y="332656"/>
            <a:ext cx="4032448" cy="396044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2EBBA98-8E26-4B3F-88C1-6AF9545C4E1D}"/>
              </a:ext>
            </a:extLst>
          </p:cNvPr>
          <p:cNvSpPr/>
          <p:nvPr/>
        </p:nvSpPr>
        <p:spPr>
          <a:xfrm>
            <a:off x="7824192" y="103398"/>
            <a:ext cx="1511672" cy="159741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41D1DB0-074D-497C-B7EB-981C68424D07}"/>
              </a:ext>
            </a:extLst>
          </p:cNvPr>
          <p:cNvSpPr/>
          <p:nvPr/>
        </p:nvSpPr>
        <p:spPr>
          <a:xfrm>
            <a:off x="11688932" y="1417054"/>
            <a:ext cx="495672" cy="86894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 descr="A man using a laptop surrounded by Colt branding graphics and icons">
            <a:extLst>
              <a:ext uri="{FF2B5EF4-FFF2-40B4-BE49-F238E27FC236}">
                <a16:creationId xmlns:a16="http://schemas.microsoft.com/office/drawing/2014/main" id="{B6A69B84-F537-421D-8AAB-E47CC75A96F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9936" y="103398"/>
            <a:ext cx="7105650" cy="598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7380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37D38-811D-40EB-B1AB-079736B4B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Colour contrast between text and background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868C27-6DED-439E-9D7F-72238EC9FB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4"/>
            <a:ext cx="11167560" cy="5251235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dirty="0"/>
              <a:t>The accessibility checker will warn you if the contrast between the text and the background is poor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dirty="0"/>
              <a:t>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dirty="0"/>
              <a:t>You will need to fix these by hand in your original document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D09B8-55E7-4945-828A-301ECECEE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BADEB318-6C87-4073-B44D-2AD44D0E8C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992544" y="-458675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2" descr="Colour Contrast Chart showing a mixture of best practices and issues">
            <a:extLst>
              <a:ext uri="{FF2B5EF4-FFF2-40B4-BE49-F238E27FC236}">
                <a16:creationId xmlns:a16="http://schemas.microsoft.com/office/drawing/2014/main" id="{3657B363-CB12-4D80-833E-773E0EBB9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9606" y="3226428"/>
            <a:ext cx="5252787" cy="3028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5E2A86AE-F885-47CF-81A0-89B8D03AD5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2937410" y="6366269"/>
            <a:ext cx="5874818" cy="1443750"/>
          </a:xfrm>
          <a:prstGeom prst="flowChartTerminator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0461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2A835-3782-412A-851B-F32466FCCB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Making tables accessible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10FB7C-BE0C-4B0D-ABED-E204E720FD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2" y="1376364"/>
            <a:ext cx="6090235" cy="4789486"/>
          </a:xfrm>
        </p:spPr>
        <p:txBody>
          <a:bodyPr/>
          <a:lstStyle/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ea typeface="Calibri" panose="020F0502020204030204" pitchFamily="34" charset="0"/>
              </a:rPr>
              <a:t>Where possible, avoid merging cells in your original file, as this will create issues for a screen reader trying to read your PDF. 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ea typeface="Calibri" panose="020F0502020204030204" pitchFamily="34" charset="0"/>
              </a:rPr>
              <a:t>If your table does not tag well or there are other issues it may be better to create the PDF in a program such as Adobe InDesign. 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ea typeface="Calibri" panose="020F0502020204030204" pitchFamily="34" charset="0"/>
              </a:rPr>
              <a:t>You can edit your table by clicking on “Reading Order” &gt; selecting the table &gt; then selecting “Table Editor.” Here you will be able to mark header rows and edit cell tags. 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FD37F0-263B-4631-8F0A-F6C4B53BE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11</a:t>
            </a:fld>
            <a:endParaRPr lang="en-GB"/>
          </a:p>
        </p:txBody>
      </p:sp>
      <p:pic>
        <p:nvPicPr>
          <p:cNvPr id="5" name="Picture 4" descr="Accessible Tables tool">
            <a:extLst>
              <a:ext uri="{FF2B5EF4-FFF2-40B4-BE49-F238E27FC236}">
                <a16:creationId xmlns:a16="http://schemas.microsoft.com/office/drawing/2014/main" id="{B9CA73A7-7E32-4FAE-854D-FA9D11F1E3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855" y="329340"/>
            <a:ext cx="3639058" cy="6163535"/>
          </a:xfrm>
          <a:prstGeom prst="rect">
            <a:avLst/>
          </a:prstGeom>
        </p:spPr>
      </p:pic>
      <p:sp>
        <p:nvSpPr>
          <p:cNvPr id="6" name="Circle: Hollow 5">
            <a:extLst>
              <a:ext uri="{FF2B5EF4-FFF2-40B4-BE49-F238E27FC236}">
                <a16:creationId xmlns:a16="http://schemas.microsoft.com/office/drawing/2014/main" id="{3F8B8BB1-3604-44BD-B66E-72DD0011D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780113" y="5727600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780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26D7EF-ADFE-4D88-918C-62BAF0DE03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Re-check the PDF for accessibility issues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8065FA-A3D7-400D-B1E2-904F5BD6B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6AD67D-19CF-D284-B09D-2F14F793D7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1" y="1376364"/>
            <a:ext cx="5789447" cy="478948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Use the “Accessibility Checker” to recheck the document ensuring all issues have been checked and corrected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Flowchart: Terminator 6">
            <a:extLst>
              <a:ext uri="{FF2B5EF4-FFF2-40B4-BE49-F238E27FC236}">
                <a16:creationId xmlns:a16="http://schemas.microsoft.com/office/drawing/2014/main" id="{249CEECB-EA3A-4696-919F-CECD6ED439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860102" y="5475851"/>
            <a:ext cx="5400600" cy="1692595"/>
          </a:xfrm>
          <a:prstGeom prst="flowChartTerminator">
            <a:avLst/>
          </a:prstGeom>
          <a:solidFill>
            <a:schemeClr val="accent1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lowchart: Terminator 8">
            <a:extLst>
              <a:ext uri="{FF2B5EF4-FFF2-40B4-BE49-F238E27FC236}">
                <a16:creationId xmlns:a16="http://schemas.microsoft.com/office/drawing/2014/main" id="{A7328B55-B148-466C-AFD2-E348494565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1107477" y="4765597"/>
            <a:ext cx="3265486" cy="912022"/>
          </a:xfrm>
          <a:prstGeom prst="flowChartTerminator">
            <a:avLst/>
          </a:prstGeom>
          <a:solidFill>
            <a:srgbClr val="EF47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 descr="The Adobe Accessibility Checker">
            <a:extLst>
              <a:ext uri="{FF2B5EF4-FFF2-40B4-BE49-F238E27FC236}">
                <a16:creationId xmlns:a16="http://schemas.microsoft.com/office/drawing/2014/main" id="{0512C698-CBA4-44F0-BC60-F7A7BD2461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2442" y="1176940"/>
            <a:ext cx="4247758" cy="518833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74403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0F1B640-6622-40E8-8A9F-920781C41C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66" r="26466"/>
          <a:stretch>
            <a:fillRect/>
          </a:stretch>
        </p:blipFill>
        <p:spPr/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43CB8E-FAC0-45AE-95A5-448F3734B4E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868178-02AE-42FC-958D-6B8F13B6017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EF64F8-B80A-4D9D-BA2B-4FEC7F3AC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Further sources of information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D9F198A-42E2-4753-908B-2C63D60BD6AE}"/>
              </a:ext>
            </a:extLst>
          </p:cNvPr>
          <p:cNvSpPr>
            <a:spLocks noGrp="1"/>
          </p:cNvSpPr>
          <p:nvPr>
            <p:ph sz="quarter" idx="20"/>
          </p:nvPr>
        </p:nvSpPr>
        <p:spPr/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dirty="0"/>
              <a:t>Read more about ways to make your documents accessible:</a:t>
            </a:r>
          </a:p>
          <a:p>
            <a:pPr marL="342900" lvl="0" indent="-342900">
              <a:spcBef>
                <a:spcPts val="600"/>
              </a:spcBef>
              <a:buClr>
                <a:srgbClr val="000000"/>
              </a:buClr>
              <a:buFont typeface="Symbol" panose="05050102010706020507" pitchFamily="18" charset="2"/>
              <a:buChar char=""/>
            </a:pPr>
            <a:r>
              <a:rPr lang="en-GB" u="sng" dirty="0" err="1">
                <a:hlinkClick r:id="rId3"/>
              </a:rPr>
              <a:t>Webaim</a:t>
            </a:r>
            <a:r>
              <a:rPr lang="en-GB" u="sng" dirty="0">
                <a:hlinkClick r:id="rId3"/>
              </a:rPr>
              <a:t> Accessible PDFs</a:t>
            </a:r>
            <a:endParaRPr lang="en-GB" dirty="0"/>
          </a:p>
          <a:p>
            <a:pPr marL="342900" lvl="0" indent="-342900">
              <a:buClr>
                <a:srgbClr val="000000"/>
              </a:buClr>
              <a:buFont typeface="Symbol" panose="05050102010706020507" pitchFamily="18" charset="2"/>
              <a:buChar char=""/>
            </a:pPr>
            <a:r>
              <a:rPr lang="en-GB" u="sng" dirty="0">
                <a:hlinkClick r:id="rId4"/>
              </a:rPr>
              <a:t>Adobe Accessible PDFs Guide to the Checker</a:t>
            </a:r>
            <a:endParaRPr lang="en-GB" u="sng" dirty="0">
              <a:hlinkClick r:id="rId4"/>
            </a:endParaRPr>
          </a:p>
          <a:p>
            <a:pPr marL="342900" lvl="0" indent="-342900">
              <a:buClr>
                <a:srgbClr val="000000"/>
              </a:buClr>
              <a:buFont typeface="Symbol" panose="05050102010706020507" pitchFamily="18" charset="2"/>
              <a:buChar char=""/>
            </a:pPr>
            <a:r>
              <a:rPr lang="en-GB" u="sng" dirty="0">
                <a:hlinkClick r:id="rId4"/>
              </a:rPr>
              <a:t>How to Verify PDF Accessibility</a:t>
            </a:r>
            <a:endParaRPr lang="en-GB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34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FE7C4A-DEDF-4CA2-856B-9BB57C1A3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868178-02AE-42FC-958D-6B8F13B6017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07D65D8-E12A-4935-9D67-BDDC0E2DA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Adobe Acrobat PRO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6382D31-8DB0-476B-AED0-8BEE0AC2B990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Adobe Acrobat PRO is an application that can be found as part of Adobe Creative Suite, a paid suite of applications from Adobe. </a:t>
            </a:r>
          </a:p>
          <a:p>
            <a:pPr marL="0" indent="0">
              <a:buNone/>
            </a:pPr>
            <a:r>
              <a:rPr lang="en-GB" dirty="0"/>
              <a:t>It includes a desktop application and web version and is compatible with most platforms, including Windows and Mac. 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C8E733F-6B14-4477-BA77-6300E3F280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498"/>
          <a:stretch/>
        </p:blipFill>
        <p:spPr>
          <a:xfrm>
            <a:off x="5375920" y="0"/>
            <a:ext cx="1634608" cy="134475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54BB922-7536-4491-A4A2-CBCEAB90EB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0681" y="5284961"/>
            <a:ext cx="4210638" cy="16004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D919F2E-9357-4D6D-BAD1-F59F779660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29841" y="2828295"/>
            <a:ext cx="962159" cy="2210108"/>
          </a:xfrm>
          <a:prstGeom prst="rect">
            <a:avLst/>
          </a:prstGeom>
        </p:spPr>
      </p:pic>
      <p:pic>
        <p:nvPicPr>
          <p:cNvPr id="14" name="Picture Placeholder 13" descr="A laptop screen showing the Adobe PDF icon">
            <a:extLst>
              <a:ext uri="{FF2B5EF4-FFF2-40B4-BE49-F238E27FC236}">
                <a16:creationId xmlns:a16="http://schemas.microsoft.com/office/drawing/2014/main" id="{FCC00917-033E-41AD-8DC0-A95327999BF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607757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owchart: Terminator 11">
            <a:extLst>
              <a:ext uri="{FF2B5EF4-FFF2-40B4-BE49-F238E27FC236}">
                <a16:creationId xmlns:a16="http://schemas.microsoft.com/office/drawing/2014/main" id="{6CE5FBFD-0160-4723-9C2C-21C9FA54E4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554373">
            <a:off x="3395698" y="5797166"/>
            <a:ext cx="5400600" cy="1692595"/>
          </a:xfrm>
          <a:prstGeom prst="flowChartTerminator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lowchart: Terminator 10">
            <a:extLst>
              <a:ext uri="{FF2B5EF4-FFF2-40B4-BE49-F238E27FC236}">
                <a16:creationId xmlns:a16="http://schemas.microsoft.com/office/drawing/2014/main" id="{F2D526A9-1EE1-4A8D-9D2E-8FD4EFC7E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554373">
            <a:off x="6426374" y="-293700"/>
            <a:ext cx="5400600" cy="1692595"/>
          </a:xfrm>
          <a:prstGeom prst="flowChartTerminator">
            <a:avLst/>
          </a:prstGeom>
          <a:solidFill>
            <a:srgbClr val="EF47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Placeholder 8" descr="Inspecting a Word document for accessibility using the Microsoft Accessibility Checker">
            <a:extLst>
              <a:ext uri="{FF2B5EF4-FFF2-40B4-BE49-F238E27FC236}">
                <a16:creationId xmlns:a16="http://schemas.microsoft.com/office/drawing/2014/main" id="{F0DF9027-E464-4351-987F-731BE6E0543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05" t="173" r="30138"/>
          <a:stretch/>
        </p:blipFill>
        <p:spPr>
          <a:xfrm>
            <a:off x="6667739" y="-1"/>
            <a:ext cx="5534535" cy="6858001"/>
          </a:xfr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98152E5-C053-485C-8DDA-6622D634083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0B868178-02AE-42FC-958D-6B8F13B60175}" type="slidenum">
              <a:rPr lang="en-GB" smtClean="0"/>
              <a:pPr algn="r">
                <a:lnSpc>
                  <a:spcPts val="970"/>
                </a:lnSpc>
              </a:pPr>
              <a:t>3</a:t>
            </a:fld>
            <a:endParaRPr lang="en-GB" sz="800" noProof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ADC258-7B20-45D9-A276-52FF6A4C9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41326"/>
            <a:ext cx="6748997" cy="935038"/>
          </a:xfrm>
        </p:spPr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Prepare your original Word document 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7CAD08C-EEB4-4F00-B847-98D575FC2A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1" y="1376363"/>
            <a:ext cx="5653087" cy="5481637"/>
          </a:xfrm>
        </p:spPr>
        <p:txBody>
          <a:bodyPr>
            <a:normAutofit/>
          </a:bodyPr>
          <a:lstStyle/>
          <a:p>
            <a:pPr marL="0" indent="0">
              <a:lnSpc>
                <a:spcPct val="115000"/>
              </a:lnSpc>
              <a:spcBef>
                <a:spcPts val="600"/>
              </a:spcBef>
              <a:buNone/>
            </a:pPr>
            <a:r>
              <a:rPr lang="en-GB" dirty="0">
                <a:ea typeface="Calibri" panose="020F0502020204030204" pitchFamily="34" charset="0"/>
              </a:rPr>
              <a:t>Prepare your document for accessibility by following the Accessible Microsoft Word guide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Include a title and author in your Word Document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Use the built-in functionality of Microsoft Word wherever possible, especially for headings, paragraphs, and lists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Convert complex graphics to images to simplify PDF tagging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Ensure tables are as simple as possible and avoid merged cell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12078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Terminator 9">
            <a:extLst>
              <a:ext uri="{FF2B5EF4-FFF2-40B4-BE49-F238E27FC236}">
                <a16:creationId xmlns:a16="http://schemas.microsoft.com/office/drawing/2014/main" id="{D5AF53DA-EE8F-4D57-8E4B-4BC0260A6C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4668604" y="5879995"/>
            <a:ext cx="5400600" cy="1692595"/>
          </a:xfrm>
          <a:prstGeom prst="flowChartTerminator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lowchart: Terminator 7">
            <a:extLst>
              <a:ext uri="{FF2B5EF4-FFF2-40B4-BE49-F238E27FC236}">
                <a16:creationId xmlns:a16="http://schemas.microsoft.com/office/drawing/2014/main" id="{FB3D96DC-5CB4-4F6F-8B1E-69901727CA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8269004" y="203309"/>
            <a:ext cx="5400600" cy="1692595"/>
          </a:xfrm>
          <a:prstGeom prst="flowChartTerminator">
            <a:avLst/>
          </a:prstGeom>
          <a:solidFill>
            <a:schemeClr val="accent5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6973D6-5B44-4A2D-876E-8578C7AF25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Export to PDF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5608C8-046C-491F-BBBF-A659596AEB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5"/>
            <a:ext cx="5199897" cy="478948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In Microsoft Word, “Save as PDF”.</a:t>
            </a:r>
          </a:p>
          <a:p>
            <a:r>
              <a:rPr lang="en-GB" dirty="0"/>
              <a:t>In Options, make sure to check “Enable accessibility.”</a:t>
            </a:r>
          </a:p>
          <a:p>
            <a:r>
              <a:rPr lang="en-GB" dirty="0"/>
              <a:t>Press OK to save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986949-A1F2-45F9-997E-7ADE9151C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ADF98653-1984-4FB5-A27C-B54F679487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032604" y="5890773"/>
            <a:ext cx="2520000" cy="2520000"/>
          </a:xfrm>
          <a:prstGeom prst="donut">
            <a:avLst>
              <a:gd name="adj" fmla="val 163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Saving an accessible PDF in Word">
            <a:extLst>
              <a:ext uri="{FF2B5EF4-FFF2-40B4-BE49-F238E27FC236}">
                <a16:creationId xmlns:a16="http://schemas.microsoft.com/office/drawing/2014/main" id="{08779DDE-D7BA-4CA0-B27E-72CCB34E8D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1608" y="1430778"/>
            <a:ext cx="5328592" cy="3996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48827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37D38-811D-40EB-B1AB-079736B4B7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Check PDF for accessibility issues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868C27-6DED-439E-9D7F-72238EC9FBE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ea typeface="Calibri" panose="020F0502020204030204" pitchFamily="34" charset="0"/>
              </a:rPr>
              <a:t>Open your new PDF using Adobe Acrobat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Choose the “Accessibility” option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The more accessible your initial Word document, the better the results of the accessibility checker.</a:t>
            </a:r>
          </a:p>
          <a:p>
            <a:pPr>
              <a:lnSpc>
                <a:spcPct val="115000"/>
              </a:lnSpc>
            </a:pPr>
            <a:r>
              <a:rPr lang="en-GB" dirty="0">
                <a:ea typeface="Calibri" panose="020F0502020204030204" pitchFamily="34" charset="0"/>
              </a:rPr>
              <a:t>You can right-click to ‘fix’ or ‘explain’ each accessibility issue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ED09B8-55E7-4945-828A-301ECECEEA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lowchart: Terminator 9">
            <a:extLst>
              <a:ext uri="{FF2B5EF4-FFF2-40B4-BE49-F238E27FC236}">
                <a16:creationId xmlns:a16="http://schemas.microsoft.com/office/drawing/2014/main" id="{33539900-94E0-4B6D-9A39-17C933DD99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-2616837" y="6436069"/>
            <a:ext cx="5874818" cy="1443750"/>
          </a:xfrm>
          <a:prstGeom prst="flowChartTerminator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BADEB318-6C87-4073-B44D-2AD44D0E8C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992544" y="-458675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Protect and Standardise menu">
            <a:extLst>
              <a:ext uri="{FF2B5EF4-FFF2-40B4-BE49-F238E27FC236}">
                <a16:creationId xmlns:a16="http://schemas.microsoft.com/office/drawing/2014/main" id="{9D06F215-84DF-4F17-9274-C8022820BE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8531" y="1278262"/>
            <a:ext cx="4940709" cy="2503697"/>
          </a:xfrm>
          <a:prstGeom prst="rect">
            <a:avLst/>
          </a:prstGeom>
        </p:spPr>
      </p:pic>
      <p:pic>
        <p:nvPicPr>
          <p:cNvPr id="12" name="Picture 11" descr="The Adobe Accessibility menu">
            <a:extLst>
              <a:ext uri="{FF2B5EF4-FFF2-40B4-BE49-F238E27FC236}">
                <a16:creationId xmlns:a16="http://schemas.microsoft.com/office/drawing/2014/main" id="{27B3087D-BDD7-4619-9AA5-F75CA69279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1025" y="2967103"/>
            <a:ext cx="2084079" cy="366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896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lowchart: Terminator 10">
            <a:extLst>
              <a:ext uri="{FF2B5EF4-FFF2-40B4-BE49-F238E27FC236}">
                <a16:creationId xmlns:a16="http://schemas.microsoft.com/office/drawing/2014/main" id="{6310967A-3A7A-4687-8680-A669FEAE77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3495444" y="6259951"/>
            <a:ext cx="5874818" cy="1443750"/>
          </a:xfrm>
          <a:prstGeom prst="flowChartTerminator">
            <a:avLst/>
          </a:prstGeom>
          <a:solidFill>
            <a:srgbClr val="500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1C9CA3-B3F9-4F2B-8C7E-852618900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Ensure your PDF has a title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AE7EA5-A9FA-4C7E-8912-72F4CE9276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5"/>
            <a:ext cx="7789528" cy="478948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dirty="0"/>
              <a:t>Click “File” and then choose “Properties”</a:t>
            </a:r>
          </a:p>
          <a:p>
            <a:r>
              <a:rPr lang="en-GB" dirty="0"/>
              <a:t>Enter your document ‘Title’ in the window that appears.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4773C0-4839-4900-9F32-E3B62B5E1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lowchart: Terminator 8">
            <a:extLst>
              <a:ext uri="{FF2B5EF4-FFF2-40B4-BE49-F238E27FC236}">
                <a16:creationId xmlns:a16="http://schemas.microsoft.com/office/drawing/2014/main" id="{5CF951E7-9AD0-4736-919D-AE12FEFA48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7430029" y="-615897"/>
            <a:ext cx="5400600" cy="1692595"/>
          </a:xfrm>
          <a:prstGeom prst="flowChartTerminator">
            <a:avLst/>
          </a:prstGeom>
          <a:solidFill>
            <a:srgbClr val="EF476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402DA1C-59CD-420B-B22A-F99DE79C47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104800" y="4566374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12" descr="Entering a document title">
            <a:extLst>
              <a:ext uri="{FF2B5EF4-FFF2-40B4-BE49-F238E27FC236}">
                <a16:creationId xmlns:a16="http://schemas.microsoft.com/office/drawing/2014/main" id="{EF997584-FC6E-4C2F-B71E-9DA5BFA775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7433" y="3096146"/>
            <a:ext cx="6817134" cy="2113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44201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Terminator 7">
            <a:extLst>
              <a:ext uri="{FF2B5EF4-FFF2-40B4-BE49-F238E27FC236}">
                <a16:creationId xmlns:a16="http://schemas.microsoft.com/office/drawing/2014/main" id="{3C65D897-5F37-4746-934F-DDDB9A41C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9062532" y="-744741"/>
            <a:ext cx="5400600" cy="1692595"/>
          </a:xfrm>
          <a:prstGeom prst="flowChartTerminator">
            <a:avLst/>
          </a:prstGeom>
          <a:solidFill>
            <a:schemeClr val="accent4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2376-4ED3-4AA8-B5C7-5BCAC38DDF3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View and edit your PDF tags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1F456-8850-448E-B482-E5ABF8FCC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4"/>
            <a:ext cx="6395427" cy="4789486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dirty="0"/>
              <a:t>When you ‘save as’ a PDF, tags are automatically added to the elements within your document like the headings, paragraphs, and figures. This makes it navigable and readable with a screen reader.</a:t>
            </a:r>
          </a:p>
          <a:p>
            <a:pPr marL="0" indent="0">
              <a:buNone/>
            </a:pPr>
            <a:r>
              <a:rPr lang="en-GB" dirty="0"/>
              <a:t>If you set up your original Word document for accessibility, your tags will be well structured, however, they can always be improved. </a:t>
            </a:r>
          </a:p>
          <a:p>
            <a:pPr marL="0" indent="0">
              <a:buNone/>
            </a:pPr>
            <a:r>
              <a:rPr lang="en-GB" dirty="0"/>
              <a:t>Check your tags manually in the tags panel and edit where appropriate. 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BC5F83-2C13-4716-9434-4F0F8F00C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BA056F1E-F6B0-4B10-8F49-FAD722088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816768" y="4706749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 descr="Accessibility Tagging">
            <a:extLst>
              <a:ext uri="{FF2B5EF4-FFF2-40B4-BE49-F238E27FC236}">
                <a16:creationId xmlns:a16="http://schemas.microsoft.com/office/drawing/2014/main" id="{4656F478-AF11-407F-8D31-6FB135DFA5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99209" y="1055774"/>
            <a:ext cx="2920928" cy="519925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859670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lowchart: Terminator 7">
            <a:extLst>
              <a:ext uri="{FF2B5EF4-FFF2-40B4-BE49-F238E27FC236}">
                <a16:creationId xmlns:a16="http://schemas.microsoft.com/office/drawing/2014/main" id="{3C65D897-5F37-4746-934F-DDDB9A41C0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9943798">
            <a:off x="285151" y="5781303"/>
            <a:ext cx="5400600" cy="1692595"/>
          </a:xfrm>
          <a:prstGeom prst="flowChartTerminator">
            <a:avLst/>
          </a:prstGeom>
          <a:solidFill>
            <a:schemeClr val="accent3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302376-4ED3-4AA8-B5C7-5BCAC38DD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Check the reading order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1F456-8850-448E-B482-E5ABF8FCCE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2914" y="1376364"/>
            <a:ext cx="6395427" cy="4789486"/>
          </a:xfrm>
        </p:spPr>
        <p:txBody>
          <a:bodyPr/>
          <a:lstStyle/>
          <a:p>
            <a:pPr>
              <a:spcBef>
                <a:spcPts val="200"/>
              </a:spcBef>
            </a:pPr>
            <a:r>
              <a:rPr lang="en-GB" dirty="0"/>
              <a:t>Choose “reading order” in the accessibility panel.</a:t>
            </a:r>
          </a:p>
          <a:p>
            <a:pPr>
              <a:spcBef>
                <a:spcPts val="200"/>
              </a:spcBef>
            </a:pPr>
            <a:r>
              <a:rPr lang="en-GB" dirty="0"/>
              <a:t>Check the order of the numbers on the page.</a:t>
            </a:r>
          </a:p>
          <a:p>
            <a:pPr lvl="1">
              <a:spcBef>
                <a:spcPts val="600"/>
              </a:spcBef>
            </a:pPr>
            <a:r>
              <a:rPr lang="en-GB" dirty="0"/>
              <a:t>Use the reading order panel to change or add tags.</a:t>
            </a:r>
          </a:p>
          <a:p>
            <a:pPr lvl="1">
              <a:spcBef>
                <a:spcPts val="600"/>
              </a:spcBef>
            </a:pPr>
            <a:r>
              <a:rPr lang="en-GB" dirty="0"/>
              <a:t>Drag the numbered elements in the left-hand column to represent the correct reading order.</a:t>
            </a:r>
          </a:p>
          <a:p>
            <a:pPr marL="266700" lvl="1" indent="0">
              <a:spcBef>
                <a:spcPts val="600"/>
              </a:spcBef>
              <a:buNone/>
            </a:pPr>
            <a:endParaRPr lang="en-GB" dirty="0"/>
          </a:p>
          <a:p>
            <a:pPr marL="0" indent="0">
              <a:spcBef>
                <a:spcPts val="600"/>
              </a:spcBef>
              <a:buNone/>
            </a:pPr>
            <a:r>
              <a:rPr lang="en-GB" dirty="0"/>
              <a:t>A correct reading order will ensure a screen reader will read aloud your document in the order you intended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BC5F83-2C13-4716-9434-4F0F8F00C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ts val="97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A935F8-6F02-46CF-898B-F9D6B7DB9D8E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ts val="97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BA056F1E-F6B0-4B10-8F49-FAD7220882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962672" y="-744226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Exploring the reading order">
            <a:extLst>
              <a:ext uri="{FF2B5EF4-FFF2-40B4-BE49-F238E27FC236}">
                <a16:creationId xmlns:a16="http://schemas.microsoft.com/office/drawing/2014/main" id="{E70C1453-44ED-446F-A2BE-3D03A0C067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699" y="593251"/>
            <a:ext cx="3406972" cy="571453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17442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D27B3B-7C5F-48AB-B049-2837C71B2F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C7972"/>
                </a:solidFill>
              </a:rPr>
              <a:t>Edit the image descriptions</a:t>
            </a:r>
            <a:endParaRPr lang="en-US" dirty="0">
              <a:solidFill>
                <a:srgbClr val="0C7972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329619-2804-44E7-8EAB-8CA44A26B4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2" y="1376363"/>
            <a:ext cx="6499309" cy="5397415"/>
          </a:xfrm>
        </p:spPr>
        <p:txBody>
          <a:bodyPr/>
          <a:lstStyle/>
          <a:p>
            <a:pPr marL="0" indent="0">
              <a:lnSpc>
                <a:spcPct val="115000"/>
              </a:lnSpc>
              <a:spcBef>
                <a:spcPts val="200"/>
              </a:spcBef>
              <a:buNone/>
            </a:pPr>
            <a:r>
              <a:rPr lang="en-GB" dirty="0">
                <a:solidFill>
                  <a:schemeClr val="tx1"/>
                </a:solidFill>
                <a:ea typeface="Yu Gothic Light" panose="020B0300000000000000" pitchFamily="34" charset="-128"/>
                <a:cs typeface="Times New Roman" panose="02020603050405020304" pitchFamily="18" charset="0"/>
              </a:rPr>
              <a:t>Ensure essential images and charts contain alternate text.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  <a:ea typeface="Calibri" panose="020F0502020204030204" pitchFamily="34" charset="0"/>
              </a:rPr>
              <a:t>Choose “Set Alternate Text” in the accessibility panel and click “OK”.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  <a:ea typeface="Calibri" panose="020F0502020204030204" pitchFamily="34" charset="0"/>
              </a:rPr>
              <a:t>Now, you can edit the image description on each image.</a:t>
            </a:r>
            <a:endParaRPr lang="en-GB" dirty="0">
              <a:solidFill>
                <a:schemeClr val="tx1"/>
              </a:solidFill>
            </a:endParaRP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  <a:ea typeface="Calibri" panose="020F0502020204030204" pitchFamily="34" charset="0"/>
              </a:rPr>
              <a:t>These are read aloud by a screen reader helping anyone who has difficulty seeing the content.</a:t>
            </a:r>
          </a:p>
          <a:p>
            <a:pPr marL="0" indent="0">
              <a:lnSpc>
                <a:spcPct val="115000"/>
              </a:lnSpc>
              <a:spcBef>
                <a:spcPts val="600"/>
              </a:spcBef>
              <a:buNone/>
            </a:pPr>
            <a:endParaRPr lang="en-GB" dirty="0">
              <a:solidFill>
                <a:schemeClr val="tx1"/>
              </a:solidFill>
              <a:ea typeface="Calibri" panose="020F0502020204030204" pitchFamily="34" charset="0"/>
            </a:endParaRPr>
          </a:p>
          <a:p>
            <a:pPr marL="0" indent="0">
              <a:lnSpc>
                <a:spcPct val="115000"/>
              </a:lnSpc>
              <a:spcBef>
                <a:spcPts val="200"/>
              </a:spcBef>
              <a:buNone/>
            </a:pPr>
            <a:r>
              <a:rPr lang="en-GB" dirty="0">
                <a:solidFill>
                  <a:schemeClr val="tx1"/>
                </a:solidFill>
                <a:ea typeface="Yu Gothic Light" panose="020B0300000000000000" pitchFamily="34" charset="-128"/>
                <a:cs typeface="Times New Roman" panose="02020603050405020304" pitchFamily="18" charset="0"/>
              </a:rPr>
              <a:t>Mark non-essential visual elements as decorative.</a:t>
            </a:r>
          </a:p>
          <a:p>
            <a:pPr>
              <a:lnSpc>
                <a:spcPct val="115000"/>
              </a:lnSpc>
              <a:spcBef>
                <a:spcPts val="600"/>
              </a:spcBef>
            </a:pPr>
            <a:r>
              <a:rPr lang="en-GB" dirty="0">
                <a:solidFill>
                  <a:schemeClr val="tx1"/>
                </a:solidFill>
                <a:ea typeface="Calibri" panose="020F0502020204030204" pitchFamily="34" charset="0"/>
              </a:rPr>
              <a:t>For decorative graphics select “Decorative figure”, so they are not read aloud by the screen reader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016399-051D-4F80-A3C3-E94BAA1684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lnSpc>
                <a:spcPts val="970"/>
              </a:lnSpc>
            </a:pPr>
            <a:fld id="{24A935F8-6F02-46CF-898B-F9D6B7DB9D8E}" type="slidenum">
              <a:rPr lang="en-GB" smtClean="0"/>
              <a:pPr algn="r">
                <a:lnSpc>
                  <a:spcPts val="970"/>
                </a:lnSpc>
              </a:pPr>
              <a:t>9</a:t>
            </a:fld>
            <a:endParaRPr lang="en-GB"/>
          </a:p>
        </p:txBody>
      </p:sp>
      <p:pic>
        <p:nvPicPr>
          <p:cNvPr id="5" name="Picture 4" descr="The set alternate text dialog box in adobe Acrobat with decorative figure highlighted">
            <a:extLst>
              <a:ext uri="{FF2B5EF4-FFF2-40B4-BE49-F238E27FC236}">
                <a16:creationId xmlns:a16="http://schemas.microsoft.com/office/drawing/2014/main" id="{0042C287-E312-4F15-A1A5-FD0D7EA599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02654" y="4324112"/>
            <a:ext cx="2681605" cy="1951990"/>
          </a:xfrm>
          <a:prstGeom prst="rect">
            <a:avLst/>
          </a:prstGeom>
        </p:spPr>
      </p:pic>
      <p:pic>
        <p:nvPicPr>
          <p:cNvPr id="6" name="Picture 5" descr="Setting Alternative Text">
            <a:extLst>
              <a:ext uri="{FF2B5EF4-FFF2-40B4-BE49-F238E27FC236}">
                <a16:creationId xmlns:a16="http://schemas.microsoft.com/office/drawing/2014/main" id="{0A8F33D8-7AB4-41F8-9F34-5191468CC0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7064" y="1376363"/>
            <a:ext cx="4337180" cy="2619128"/>
          </a:xfrm>
          <a:prstGeom prst="rect">
            <a:avLst/>
          </a:prstGeom>
        </p:spPr>
      </p:pic>
      <p:sp>
        <p:nvSpPr>
          <p:cNvPr id="7" name="Circle: Hollow 6">
            <a:extLst>
              <a:ext uri="{FF2B5EF4-FFF2-40B4-BE49-F238E27FC236}">
                <a16:creationId xmlns:a16="http://schemas.microsoft.com/office/drawing/2014/main" id="{A19D2E59-5C31-486A-AA7D-ECE69B0744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504095" y="-1218102"/>
            <a:ext cx="1800200" cy="1800000"/>
          </a:xfrm>
          <a:prstGeom prst="donut">
            <a:avLst>
              <a:gd name="adj" fmla="val 163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6578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lt 2021">
  <a:themeElements>
    <a:clrScheme name="Colt">
      <a:dk1>
        <a:srgbClr val="000000"/>
      </a:dk1>
      <a:lt1>
        <a:srgbClr val="FFFFFF"/>
      </a:lt1>
      <a:dk2>
        <a:srgbClr val="484A47"/>
      </a:dk2>
      <a:lt2>
        <a:srgbClr val="F5F5F5"/>
      </a:lt2>
      <a:accent1>
        <a:srgbClr val="00D7BD"/>
      </a:accent1>
      <a:accent2>
        <a:srgbClr val="00A59B"/>
      </a:accent2>
      <a:accent3>
        <a:srgbClr val="0099FF"/>
      </a:accent3>
      <a:accent4>
        <a:srgbClr val="500091"/>
      </a:accent4>
      <a:accent5>
        <a:srgbClr val="FFC43D"/>
      </a:accent5>
      <a:accent6>
        <a:srgbClr val="EF476F"/>
      </a:accent6>
      <a:hlink>
        <a:srgbClr val="0099FF"/>
      </a:hlink>
      <a:folHlink>
        <a:srgbClr val="500091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ll-set-Colt-template 21" id="{81C01B69-38F2-1649-BAAF-29DEA9AF0A2C}" vid="{3121AE5E-B4EE-2747-BC8A-161935D76BF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8A022230CC18F4DA233D8E98525674D" ma:contentTypeVersion="16" ma:contentTypeDescription="Create a new document." ma:contentTypeScope="" ma:versionID="24a772f7ff7593663f12f1d4b1bb3272">
  <xsd:schema xmlns:xsd="http://www.w3.org/2001/XMLSchema" xmlns:xs="http://www.w3.org/2001/XMLSchema" xmlns:p="http://schemas.microsoft.com/office/2006/metadata/properties" xmlns:ns2="e6a95481-9c2e-4f19-aa8f-4e286a38f563" xmlns:ns3="6f73a48d-fe21-4324-8bfe-f1572f44ea75" targetNamespace="http://schemas.microsoft.com/office/2006/metadata/properties" ma:root="true" ma:fieldsID="c1ac734203afea648ee4acd6efc6e619" ns2:_="" ns3:_="">
    <xsd:import namespace="e6a95481-9c2e-4f19-aa8f-4e286a38f563"/>
    <xsd:import namespace="6f73a48d-fe21-4324-8bfe-f1572f44ea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a95481-9c2e-4f19-aa8f-4e286a38f5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268396b-371b-4a59-b694-f90548ebff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3a48d-fe21-4324-8bfe-f1572f44ea7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96eccd8-1694-4105-9411-ff3318c2369f}" ma:internalName="TaxCatchAll" ma:showField="CatchAllData" ma:web="6f73a48d-fe21-4324-8bfe-f1572f44ea7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a95481-9c2e-4f19-aa8f-4e286a38f563">
      <Terms xmlns="http://schemas.microsoft.com/office/infopath/2007/PartnerControls"/>
    </lcf76f155ced4ddcb4097134ff3c332f>
    <TaxCatchAll xmlns="6f73a48d-fe21-4324-8bfe-f1572f44ea7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C83FEF-4BD3-40DF-9CD9-8BFF848300D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a95481-9c2e-4f19-aa8f-4e286a38f563"/>
    <ds:schemaRef ds:uri="6f73a48d-fe21-4324-8bfe-f1572f44ea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9E6C372-C646-4CD0-B466-663781A95255}">
  <ds:schemaRefs>
    <ds:schemaRef ds:uri="http://schemas.microsoft.com/office/2006/metadata/properties"/>
    <ds:schemaRef ds:uri="http://schemas.microsoft.com/office/infopath/2007/PartnerControls"/>
    <ds:schemaRef ds:uri="c88eac09-294b-4969-8def-f499d66eab18"/>
    <ds:schemaRef ds:uri="e6a95481-9c2e-4f19-aa8f-4e286a38f563"/>
    <ds:schemaRef ds:uri="6f73a48d-fe21-4324-8bfe-f1572f44ea75"/>
  </ds:schemaRefs>
</ds:datastoreItem>
</file>

<file path=customXml/itemProps3.xml><?xml version="1.0" encoding="utf-8"?>
<ds:datastoreItem xmlns:ds="http://schemas.openxmlformats.org/officeDocument/2006/customXml" ds:itemID="{FF9A4619-A5FC-4D4D-881F-E395B92A659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857</Words>
  <Application>Microsoft Macintosh PowerPoint</Application>
  <PresentationFormat>Widescreen</PresentationFormat>
  <Paragraphs>96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Yu Gothic Light</vt:lpstr>
      <vt:lpstr>Arial</vt:lpstr>
      <vt:lpstr>Calibri</vt:lpstr>
      <vt:lpstr>Symbol</vt:lpstr>
      <vt:lpstr>Colt 2021</vt:lpstr>
      <vt:lpstr>think-cell Slide</vt:lpstr>
      <vt:lpstr>Optimising Accessibility</vt:lpstr>
      <vt:lpstr>Adobe Acrobat PRO</vt:lpstr>
      <vt:lpstr>Prepare your original Word document </vt:lpstr>
      <vt:lpstr>Export to PDF</vt:lpstr>
      <vt:lpstr>Check PDF for accessibility issues</vt:lpstr>
      <vt:lpstr>Ensure your PDF has a title</vt:lpstr>
      <vt:lpstr>View and edit your PDF tags</vt:lpstr>
      <vt:lpstr>Check the reading order</vt:lpstr>
      <vt:lpstr>Edit the image descriptions</vt:lpstr>
      <vt:lpstr>Colour contrast between text and background</vt:lpstr>
      <vt:lpstr>Making tables accessible</vt:lpstr>
      <vt:lpstr>Re-check the PDF for accessibility issues</vt:lpstr>
      <vt:lpstr>Further sources of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ing PDFs accessible</dc:title>
  <dc:creator>Louise</dc:creator>
  <cp:lastModifiedBy>Gareth Ford Williams</cp:lastModifiedBy>
  <cp:revision>7</cp:revision>
  <dcterms:created xsi:type="dcterms:W3CDTF">2023-08-14T14:27:32Z</dcterms:created>
  <dcterms:modified xsi:type="dcterms:W3CDTF">2024-07-01T12:45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A022230CC18F4DA233D8E98525674D</vt:lpwstr>
  </property>
</Properties>
</file>